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17" r:id="rId4"/>
    <p:sldMasterId id="2147483767" r:id="rId5"/>
  </p:sldMasterIdLst>
  <p:notesMasterIdLst>
    <p:notesMasterId r:id="rId15"/>
  </p:notesMasterIdLst>
  <p:sldIdLst>
    <p:sldId id="256" r:id="rId6"/>
    <p:sldId id="2147483467" r:id="rId7"/>
    <p:sldId id="2147483470" r:id="rId8"/>
    <p:sldId id="2147483471" r:id="rId9"/>
    <p:sldId id="2147483472" r:id="rId10"/>
    <p:sldId id="2147483473" r:id="rId11"/>
    <p:sldId id="2147483474" r:id="rId12"/>
    <p:sldId id="2147483469" r:id="rId13"/>
    <p:sldId id="2147480980" r:id="rId14"/>
  </p:sldIdLst>
  <p:sldSz cx="12192000" cy="6858000"/>
  <p:notesSz cx="12192000" cy="6858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A6F711-EB3D-EA43-27C3-F41A2A8D4042}" name="Lewis, Weston" initials="WL" userId="S::wlewis3@kpmg.com.au::80ec6c6c-cf8c-48b0-bf46-2121a9ecc312" providerId="AD"/>
  <p188:author id="{00F83532-258F-5B2A-DEA5-D1B688D27C28}" name="Hoggett, Eileen F" initials="EH" userId="S::ehoggett@kpmg.com.au::5366e39c-2d60-44f9-b322-e84709ff2292" providerId="AD"/>
  <p188:author id="{DA0F2748-E5B3-AE49-D151-2649CA53AEA9}" name="Silva, Kristin" initials="KS" userId="S::ksilva@kpmg.com.au::faff7d22-ee49-46d3-a734-24b7eda50c4f" providerId="AD"/>
  <p188:author id="{FE77F750-1937-6E13-2F1B-D51ED83C9C5A}" name="Edwards, Sian" initials="SE" userId="S::sedwards13@kpmg.com.au::168638d1-4329-42f7-ac48-37610205de0c" providerId="AD"/>
  <p188:author id="{9588807E-3356-9715-2AC4-80489FF5A313}" name="Fentener van Vlissingen, Rita" initials="RF" userId="S::ritafentener@kpmg.com.au::4bd5f507-059b-445f-8831-e39aa8e9201e" providerId="AD"/>
  <p188:author id="{C412BA82-B827-C0FA-09A5-7DB12BDA9DF7}" name="King, Adrian  V (AUS)" initials="AK" userId="S::avking@kpmg.com.au::2383bec1-27aa-4863-a0ac-4ef0ef8be020" providerId="AD"/>
  <p188:author id="{AACC5888-E084-F31C-7C42-85E1AC7A94FB}" name="Steyn, Pieter (PG)" initials="PS" userId="S::psteyn@kpmg.com.au::6d2e891b-d7e9-463f-b6f8-1c48f72b858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7E7"/>
    <a:srgbClr val="0046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873021-61E7-4636-ABC0-258C020C419A}" v="200" dt="2025-10-07T00:06:03.956"/>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1" autoAdjust="0"/>
    <p:restoredTop sz="94660"/>
  </p:normalViewPr>
  <p:slideViewPr>
    <p:cSldViewPr snapToGrid="0">
      <p:cViewPr varScale="1">
        <p:scale>
          <a:sx n="70" d="100"/>
          <a:sy n="70" d="100"/>
        </p:scale>
        <p:origin x="536" y="52"/>
      </p:cViewPr>
      <p:guideLst>
        <p:guide orient="horz" pos="2880"/>
        <p:guide pos="21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yn, Pieter (PG)" userId="6d2e891b-d7e9-463f-b6f8-1c48f72b858b" providerId="ADAL" clId="{A5873021-61E7-4636-ABC0-258C020C419A}"/>
    <pc:docChg chg="undo custSel addSld delSld modSld sldOrd modMainMaster">
      <pc:chgData name="Steyn, Pieter (PG)" userId="6d2e891b-d7e9-463f-b6f8-1c48f72b858b" providerId="ADAL" clId="{A5873021-61E7-4636-ABC0-258C020C419A}" dt="2025-10-07T00:07:06.611" v="1041" actId="1076"/>
      <pc:docMkLst>
        <pc:docMk/>
      </pc:docMkLst>
      <pc:sldChg chg="addSp delSp modSp mod">
        <pc:chgData name="Steyn, Pieter (PG)" userId="6d2e891b-d7e9-463f-b6f8-1c48f72b858b" providerId="ADAL" clId="{A5873021-61E7-4636-ABC0-258C020C419A}" dt="2025-10-04T01:35:01.152" v="160" actId="167"/>
        <pc:sldMkLst>
          <pc:docMk/>
          <pc:sldMk cId="0" sldId="256"/>
        </pc:sldMkLst>
        <pc:spChg chg="mod">
          <ac:chgData name="Steyn, Pieter (PG)" userId="6d2e891b-d7e9-463f-b6f8-1c48f72b858b" providerId="ADAL" clId="{A5873021-61E7-4636-ABC0-258C020C419A}" dt="2025-10-04T01:30:11.936" v="136" actId="29295"/>
          <ac:spMkLst>
            <pc:docMk/>
            <pc:sldMk cId="0" sldId="256"/>
            <ac:spMk id="4" creationId="{00000000-0000-0000-0000-000000000000}"/>
          </ac:spMkLst>
        </pc:spChg>
        <pc:spChg chg="mod">
          <ac:chgData name="Steyn, Pieter (PG)" userId="6d2e891b-d7e9-463f-b6f8-1c48f72b858b" providerId="ADAL" clId="{A5873021-61E7-4636-ABC0-258C020C419A}" dt="2025-10-04T00:41:58.654" v="38" actId="404"/>
          <ac:spMkLst>
            <pc:docMk/>
            <pc:sldMk cId="0" sldId="256"/>
            <ac:spMk id="5" creationId="{00000000-0000-0000-0000-000000000000}"/>
          </ac:spMkLst>
        </pc:spChg>
        <pc:spChg chg="mod">
          <ac:chgData name="Steyn, Pieter (PG)" userId="6d2e891b-d7e9-463f-b6f8-1c48f72b858b" providerId="ADAL" clId="{A5873021-61E7-4636-ABC0-258C020C419A}" dt="2025-10-04T01:32:06.650" v="138" actId="403"/>
          <ac:spMkLst>
            <pc:docMk/>
            <pc:sldMk cId="0" sldId="256"/>
            <ac:spMk id="7" creationId="{00000000-0000-0000-0000-000000000000}"/>
          </ac:spMkLst>
        </pc:spChg>
        <pc:spChg chg="mod">
          <ac:chgData name="Steyn, Pieter (PG)" userId="6d2e891b-d7e9-463f-b6f8-1c48f72b858b" providerId="ADAL" clId="{A5873021-61E7-4636-ABC0-258C020C419A}" dt="2025-10-04T01:32:21.030" v="153" actId="20577"/>
          <ac:spMkLst>
            <pc:docMk/>
            <pc:sldMk cId="0" sldId="256"/>
            <ac:spMk id="8" creationId="{00000000-0000-0000-0000-000000000000}"/>
          </ac:spMkLst>
        </pc:spChg>
        <pc:spChg chg="mod">
          <ac:chgData name="Steyn, Pieter (PG)" userId="6d2e891b-d7e9-463f-b6f8-1c48f72b858b" providerId="ADAL" clId="{A5873021-61E7-4636-ABC0-258C020C419A}" dt="2025-10-04T00:43:18.453" v="93" actId="14100"/>
          <ac:spMkLst>
            <pc:docMk/>
            <pc:sldMk cId="0" sldId="256"/>
            <ac:spMk id="9" creationId="{00000000-0000-0000-0000-000000000000}"/>
          </ac:spMkLst>
        </pc:spChg>
        <pc:picChg chg="add mod ord">
          <ac:chgData name="Steyn, Pieter (PG)" userId="6d2e891b-d7e9-463f-b6f8-1c48f72b858b" providerId="ADAL" clId="{A5873021-61E7-4636-ABC0-258C020C419A}" dt="2025-10-04T01:35:01.152" v="160" actId="167"/>
          <ac:picMkLst>
            <pc:docMk/>
            <pc:sldMk cId="0" sldId="256"/>
            <ac:picMk id="13" creationId="{03BDB129-9311-2787-270F-3D66409E1D5F}"/>
          </ac:picMkLst>
        </pc:picChg>
      </pc:sldChg>
      <pc:sldChg chg="del">
        <pc:chgData name="Steyn, Pieter (PG)" userId="6d2e891b-d7e9-463f-b6f8-1c48f72b858b" providerId="ADAL" clId="{A5873021-61E7-4636-ABC0-258C020C419A}" dt="2025-10-04T05:39:18.511" v="657" actId="47"/>
        <pc:sldMkLst>
          <pc:docMk/>
          <pc:sldMk cId="0" sldId="257"/>
        </pc:sldMkLst>
      </pc:sldChg>
      <pc:sldChg chg="del">
        <pc:chgData name="Steyn, Pieter (PG)" userId="6d2e891b-d7e9-463f-b6f8-1c48f72b858b" providerId="ADAL" clId="{A5873021-61E7-4636-ABC0-258C020C419A}" dt="2025-10-04T05:39:18.511" v="657" actId="47"/>
        <pc:sldMkLst>
          <pc:docMk/>
          <pc:sldMk cId="0" sldId="258"/>
        </pc:sldMkLst>
      </pc:sldChg>
      <pc:sldChg chg="del">
        <pc:chgData name="Steyn, Pieter (PG)" userId="6d2e891b-d7e9-463f-b6f8-1c48f72b858b" providerId="ADAL" clId="{A5873021-61E7-4636-ABC0-258C020C419A}" dt="2025-10-04T05:39:18.511" v="657" actId="47"/>
        <pc:sldMkLst>
          <pc:docMk/>
          <pc:sldMk cId="0" sldId="259"/>
        </pc:sldMkLst>
      </pc:sldChg>
      <pc:sldChg chg="del">
        <pc:chgData name="Steyn, Pieter (PG)" userId="6d2e891b-d7e9-463f-b6f8-1c48f72b858b" providerId="ADAL" clId="{A5873021-61E7-4636-ABC0-258C020C419A}" dt="2025-10-04T05:39:18.511" v="657" actId="47"/>
        <pc:sldMkLst>
          <pc:docMk/>
          <pc:sldMk cId="0" sldId="260"/>
        </pc:sldMkLst>
      </pc:sldChg>
      <pc:sldChg chg="del">
        <pc:chgData name="Steyn, Pieter (PG)" userId="6d2e891b-d7e9-463f-b6f8-1c48f72b858b" providerId="ADAL" clId="{A5873021-61E7-4636-ABC0-258C020C419A}" dt="2025-10-04T05:39:18.511" v="657" actId="47"/>
        <pc:sldMkLst>
          <pc:docMk/>
          <pc:sldMk cId="0" sldId="262"/>
        </pc:sldMkLst>
      </pc:sldChg>
      <pc:sldChg chg="del">
        <pc:chgData name="Steyn, Pieter (PG)" userId="6d2e891b-d7e9-463f-b6f8-1c48f72b858b" providerId="ADAL" clId="{A5873021-61E7-4636-ABC0-258C020C419A}" dt="2025-10-04T05:39:18.511" v="657" actId="47"/>
        <pc:sldMkLst>
          <pc:docMk/>
          <pc:sldMk cId="0" sldId="263"/>
        </pc:sldMkLst>
      </pc:sldChg>
      <pc:sldChg chg="del">
        <pc:chgData name="Steyn, Pieter (PG)" userId="6d2e891b-d7e9-463f-b6f8-1c48f72b858b" providerId="ADAL" clId="{A5873021-61E7-4636-ABC0-258C020C419A}" dt="2025-10-04T05:39:18.511" v="657" actId="47"/>
        <pc:sldMkLst>
          <pc:docMk/>
          <pc:sldMk cId="0" sldId="264"/>
        </pc:sldMkLst>
      </pc:sldChg>
      <pc:sldChg chg="del">
        <pc:chgData name="Steyn, Pieter (PG)" userId="6d2e891b-d7e9-463f-b6f8-1c48f72b858b" providerId="ADAL" clId="{A5873021-61E7-4636-ABC0-258C020C419A}" dt="2025-10-04T05:39:18.511" v="657" actId="47"/>
        <pc:sldMkLst>
          <pc:docMk/>
          <pc:sldMk cId="0" sldId="265"/>
        </pc:sldMkLst>
      </pc:sldChg>
      <pc:sldChg chg="del">
        <pc:chgData name="Steyn, Pieter (PG)" userId="6d2e891b-d7e9-463f-b6f8-1c48f72b858b" providerId="ADAL" clId="{A5873021-61E7-4636-ABC0-258C020C419A}" dt="2025-10-04T05:39:18.511" v="657" actId="47"/>
        <pc:sldMkLst>
          <pc:docMk/>
          <pc:sldMk cId="0" sldId="266"/>
        </pc:sldMkLst>
      </pc:sldChg>
      <pc:sldChg chg="del">
        <pc:chgData name="Steyn, Pieter (PG)" userId="6d2e891b-d7e9-463f-b6f8-1c48f72b858b" providerId="ADAL" clId="{A5873021-61E7-4636-ABC0-258C020C419A}" dt="2025-10-04T05:39:18.511" v="657" actId="47"/>
        <pc:sldMkLst>
          <pc:docMk/>
          <pc:sldMk cId="0" sldId="267"/>
        </pc:sldMkLst>
      </pc:sldChg>
      <pc:sldChg chg="del">
        <pc:chgData name="Steyn, Pieter (PG)" userId="6d2e891b-d7e9-463f-b6f8-1c48f72b858b" providerId="ADAL" clId="{A5873021-61E7-4636-ABC0-258C020C419A}" dt="2025-10-04T05:39:18.511" v="657" actId="47"/>
        <pc:sldMkLst>
          <pc:docMk/>
          <pc:sldMk cId="0" sldId="268"/>
        </pc:sldMkLst>
      </pc:sldChg>
      <pc:sldChg chg="del">
        <pc:chgData name="Steyn, Pieter (PG)" userId="6d2e891b-d7e9-463f-b6f8-1c48f72b858b" providerId="ADAL" clId="{A5873021-61E7-4636-ABC0-258C020C419A}" dt="2025-10-04T05:39:18.511" v="657" actId="47"/>
        <pc:sldMkLst>
          <pc:docMk/>
          <pc:sldMk cId="0" sldId="269"/>
        </pc:sldMkLst>
      </pc:sldChg>
      <pc:sldChg chg="del ord">
        <pc:chgData name="Steyn, Pieter (PG)" userId="6d2e891b-d7e9-463f-b6f8-1c48f72b858b" providerId="ADAL" clId="{A5873021-61E7-4636-ABC0-258C020C419A}" dt="2025-10-04T05:39:18.511" v="657" actId="47"/>
        <pc:sldMkLst>
          <pc:docMk/>
          <pc:sldMk cId="0" sldId="270"/>
        </pc:sldMkLst>
      </pc:sldChg>
      <pc:sldChg chg="del">
        <pc:chgData name="Steyn, Pieter (PG)" userId="6d2e891b-d7e9-463f-b6f8-1c48f72b858b" providerId="ADAL" clId="{A5873021-61E7-4636-ABC0-258C020C419A}" dt="2025-10-04T05:39:18.511" v="657" actId="47"/>
        <pc:sldMkLst>
          <pc:docMk/>
          <pc:sldMk cId="0" sldId="273"/>
        </pc:sldMkLst>
      </pc:sldChg>
      <pc:sldChg chg="del">
        <pc:chgData name="Steyn, Pieter (PG)" userId="6d2e891b-d7e9-463f-b6f8-1c48f72b858b" providerId="ADAL" clId="{A5873021-61E7-4636-ABC0-258C020C419A}" dt="2025-10-04T05:39:18.511" v="657" actId="47"/>
        <pc:sldMkLst>
          <pc:docMk/>
          <pc:sldMk cId="0" sldId="274"/>
        </pc:sldMkLst>
      </pc:sldChg>
      <pc:sldChg chg="del">
        <pc:chgData name="Steyn, Pieter (PG)" userId="6d2e891b-d7e9-463f-b6f8-1c48f72b858b" providerId="ADAL" clId="{A5873021-61E7-4636-ABC0-258C020C419A}" dt="2025-10-04T05:39:18.511" v="657" actId="47"/>
        <pc:sldMkLst>
          <pc:docMk/>
          <pc:sldMk cId="0" sldId="275"/>
        </pc:sldMkLst>
      </pc:sldChg>
      <pc:sldChg chg="del">
        <pc:chgData name="Steyn, Pieter (PG)" userId="6d2e891b-d7e9-463f-b6f8-1c48f72b858b" providerId="ADAL" clId="{A5873021-61E7-4636-ABC0-258C020C419A}" dt="2025-10-04T05:39:18.511" v="657" actId="47"/>
        <pc:sldMkLst>
          <pc:docMk/>
          <pc:sldMk cId="0" sldId="276"/>
        </pc:sldMkLst>
      </pc:sldChg>
      <pc:sldChg chg="del">
        <pc:chgData name="Steyn, Pieter (PG)" userId="6d2e891b-d7e9-463f-b6f8-1c48f72b858b" providerId="ADAL" clId="{A5873021-61E7-4636-ABC0-258C020C419A}" dt="2025-10-04T05:39:18.511" v="657" actId="47"/>
        <pc:sldMkLst>
          <pc:docMk/>
          <pc:sldMk cId="0" sldId="278"/>
        </pc:sldMkLst>
      </pc:sldChg>
      <pc:sldChg chg="del">
        <pc:chgData name="Steyn, Pieter (PG)" userId="6d2e891b-d7e9-463f-b6f8-1c48f72b858b" providerId="ADAL" clId="{A5873021-61E7-4636-ABC0-258C020C419A}" dt="2025-10-04T05:39:18.511" v="657" actId="47"/>
        <pc:sldMkLst>
          <pc:docMk/>
          <pc:sldMk cId="0" sldId="279"/>
        </pc:sldMkLst>
      </pc:sldChg>
      <pc:sldChg chg="del">
        <pc:chgData name="Steyn, Pieter (PG)" userId="6d2e891b-d7e9-463f-b6f8-1c48f72b858b" providerId="ADAL" clId="{A5873021-61E7-4636-ABC0-258C020C419A}" dt="2025-10-04T05:39:18.511" v="657" actId="47"/>
        <pc:sldMkLst>
          <pc:docMk/>
          <pc:sldMk cId="0" sldId="280"/>
        </pc:sldMkLst>
      </pc:sldChg>
      <pc:sldChg chg="del">
        <pc:chgData name="Steyn, Pieter (PG)" userId="6d2e891b-d7e9-463f-b6f8-1c48f72b858b" providerId="ADAL" clId="{A5873021-61E7-4636-ABC0-258C020C419A}" dt="2025-10-04T05:39:18.511" v="657" actId="47"/>
        <pc:sldMkLst>
          <pc:docMk/>
          <pc:sldMk cId="0" sldId="281"/>
        </pc:sldMkLst>
      </pc:sldChg>
      <pc:sldChg chg="del">
        <pc:chgData name="Steyn, Pieter (PG)" userId="6d2e891b-d7e9-463f-b6f8-1c48f72b858b" providerId="ADAL" clId="{A5873021-61E7-4636-ABC0-258C020C419A}" dt="2025-10-04T05:39:18.511" v="657" actId="47"/>
        <pc:sldMkLst>
          <pc:docMk/>
          <pc:sldMk cId="0" sldId="282"/>
        </pc:sldMkLst>
      </pc:sldChg>
      <pc:sldChg chg="del">
        <pc:chgData name="Steyn, Pieter (PG)" userId="6d2e891b-d7e9-463f-b6f8-1c48f72b858b" providerId="ADAL" clId="{A5873021-61E7-4636-ABC0-258C020C419A}" dt="2025-10-04T05:39:18.511" v="657" actId="47"/>
        <pc:sldMkLst>
          <pc:docMk/>
          <pc:sldMk cId="0" sldId="283"/>
        </pc:sldMkLst>
      </pc:sldChg>
      <pc:sldChg chg="del">
        <pc:chgData name="Steyn, Pieter (PG)" userId="6d2e891b-d7e9-463f-b6f8-1c48f72b858b" providerId="ADAL" clId="{A5873021-61E7-4636-ABC0-258C020C419A}" dt="2025-10-04T05:39:18.511" v="657" actId="47"/>
        <pc:sldMkLst>
          <pc:docMk/>
          <pc:sldMk cId="0" sldId="284"/>
        </pc:sldMkLst>
      </pc:sldChg>
      <pc:sldChg chg="del">
        <pc:chgData name="Steyn, Pieter (PG)" userId="6d2e891b-d7e9-463f-b6f8-1c48f72b858b" providerId="ADAL" clId="{A5873021-61E7-4636-ABC0-258C020C419A}" dt="2025-10-04T05:39:18.511" v="657" actId="47"/>
        <pc:sldMkLst>
          <pc:docMk/>
          <pc:sldMk cId="0" sldId="285"/>
        </pc:sldMkLst>
      </pc:sldChg>
      <pc:sldChg chg="del">
        <pc:chgData name="Steyn, Pieter (PG)" userId="6d2e891b-d7e9-463f-b6f8-1c48f72b858b" providerId="ADAL" clId="{A5873021-61E7-4636-ABC0-258C020C419A}" dt="2025-10-04T05:39:18.511" v="657" actId="47"/>
        <pc:sldMkLst>
          <pc:docMk/>
          <pc:sldMk cId="0" sldId="286"/>
        </pc:sldMkLst>
      </pc:sldChg>
      <pc:sldChg chg="del">
        <pc:chgData name="Steyn, Pieter (PG)" userId="6d2e891b-d7e9-463f-b6f8-1c48f72b858b" providerId="ADAL" clId="{A5873021-61E7-4636-ABC0-258C020C419A}" dt="2025-10-04T05:39:18.511" v="657" actId="47"/>
        <pc:sldMkLst>
          <pc:docMk/>
          <pc:sldMk cId="0" sldId="290"/>
        </pc:sldMkLst>
      </pc:sldChg>
      <pc:sldChg chg="del">
        <pc:chgData name="Steyn, Pieter (PG)" userId="6d2e891b-d7e9-463f-b6f8-1c48f72b858b" providerId="ADAL" clId="{A5873021-61E7-4636-ABC0-258C020C419A}" dt="2025-10-04T05:39:18.511" v="657" actId="47"/>
        <pc:sldMkLst>
          <pc:docMk/>
          <pc:sldMk cId="0" sldId="291"/>
        </pc:sldMkLst>
      </pc:sldChg>
      <pc:sldChg chg="del">
        <pc:chgData name="Steyn, Pieter (PG)" userId="6d2e891b-d7e9-463f-b6f8-1c48f72b858b" providerId="ADAL" clId="{A5873021-61E7-4636-ABC0-258C020C419A}" dt="2025-10-04T05:39:18.511" v="657" actId="47"/>
        <pc:sldMkLst>
          <pc:docMk/>
          <pc:sldMk cId="1517639983" sldId="295"/>
        </pc:sldMkLst>
      </pc:sldChg>
      <pc:sldChg chg="del">
        <pc:chgData name="Steyn, Pieter (PG)" userId="6d2e891b-d7e9-463f-b6f8-1c48f72b858b" providerId="ADAL" clId="{A5873021-61E7-4636-ABC0-258C020C419A}" dt="2025-10-04T05:39:18.511" v="657" actId="47"/>
        <pc:sldMkLst>
          <pc:docMk/>
          <pc:sldMk cId="3531852104" sldId="296"/>
        </pc:sldMkLst>
      </pc:sldChg>
      <pc:sldChg chg="del">
        <pc:chgData name="Steyn, Pieter (PG)" userId="6d2e891b-d7e9-463f-b6f8-1c48f72b858b" providerId="ADAL" clId="{A5873021-61E7-4636-ABC0-258C020C419A}" dt="2025-10-04T05:39:18.511" v="657" actId="47"/>
        <pc:sldMkLst>
          <pc:docMk/>
          <pc:sldMk cId="3731514092" sldId="297"/>
        </pc:sldMkLst>
      </pc:sldChg>
      <pc:sldChg chg="modSp del mod ord">
        <pc:chgData name="Steyn, Pieter (PG)" userId="6d2e891b-d7e9-463f-b6f8-1c48f72b858b" providerId="ADAL" clId="{A5873021-61E7-4636-ABC0-258C020C419A}" dt="2025-10-04T05:39:18.511" v="657" actId="47"/>
        <pc:sldMkLst>
          <pc:docMk/>
          <pc:sldMk cId="1398440877" sldId="298"/>
        </pc:sldMkLst>
      </pc:sldChg>
      <pc:sldChg chg="del">
        <pc:chgData name="Steyn, Pieter (PG)" userId="6d2e891b-d7e9-463f-b6f8-1c48f72b858b" providerId="ADAL" clId="{A5873021-61E7-4636-ABC0-258C020C419A}" dt="2025-10-04T05:39:18.511" v="657" actId="47"/>
        <pc:sldMkLst>
          <pc:docMk/>
          <pc:sldMk cId="1874845743" sldId="304"/>
        </pc:sldMkLst>
      </pc:sldChg>
      <pc:sldChg chg="del">
        <pc:chgData name="Steyn, Pieter (PG)" userId="6d2e891b-d7e9-463f-b6f8-1c48f72b858b" providerId="ADAL" clId="{A5873021-61E7-4636-ABC0-258C020C419A}" dt="2025-10-04T05:39:18.511" v="657" actId="47"/>
        <pc:sldMkLst>
          <pc:docMk/>
          <pc:sldMk cId="1495155601" sldId="305"/>
        </pc:sldMkLst>
      </pc:sldChg>
      <pc:sldChg chg="del">
        <pc:chgData name="Steyn, Pieter (PG)" userId="6d2e891b-d7e9-463f-b6f8-1c48f72b858b" providerId="ADAL" clId="{A5873021-61E7-4636-ABC0-258C020C419A}" dt="2025-10-04T05:39:18.511" v="657" actId="47"/>
        <pc:sldMkLst>
          <pc:docMk/>
          <pc:sldMk cId="1487047283" sldId="310"/>
        </pc:sldMkLst>
      </pc:sldChg>
      <pc:sldChg chg="del">
        <pc:chgData name="Steyn, Pieter (PG)" userId="6d2e891b-d7e9-463f-b6f8-1c48f72b858b" providerId="ADAL" clId="{A5873021-61E7-4636-ABC0-258C020C419A}" dt="2025-10-04T05:39:18.511" v="657" actId="47"/>
        <pc:sldMkLst>
          <pc:docMk/>
          <pc:sldMk cId="43233860" sldId="312"/>
        </pc:sldMkLst>
      </pc:sldChg>
      <pc:sldChg chg="delSp del">
        <pc:chgData name="Steyn, Pieter (PG)" userId="6d2e891b-d7e9-463f-b6f8-1c48f72b858b" providerId="ADAL" clId="{A5873021-61E7-4636-ABC0-258C020C419A}" dt="2025-10-04T05:39:18.511" v="657" actId="47"/>
        <pc:sldMkLst>
          <pc:docMk/>
          <pc:sldMk cId="3805721196" sldId="313"/>
        </pc:sldMkLst>
      </pc:sldChg>
      <pc:sldChg chg="del">
        <pc:chgData name="Steyn, Pieter (PG)" userId="6d2e891b-d7e9-463f-b6f8-1c48f72b858b" providerId="ADAL" clId="{A5873021-61E7-4636-ABC0-258C020C419A}" dt="2025-10-04T05:39:18.511" v="657" actId="47"/>
        <pc:sldMkLst>
          <pc:docMk/>
          <pc:sldMk cId="1996643502" sldId="314"/>
        </pc:sldMkLst>
      </pc:sldChg>
      <pc:sldChg chg="add del">
        <pc:chgData name="Steyn, Pieter (PG)" userId="6d2e891b-d7e9-463f-b6f8-1c48f72b858b" providerId="ADAL" clId="{A5873021-61E7-4636-ABC0-258C020C419A}" dt="2025-10-04T05:26:16.627" v="656"/>
        <pc:sldMkLst>
          <pc:docMk/>
          <pc:sldMk cId="1582490194" sldId="2147480980"/>
        </pc:sldMkLst>
      </pc:sldChg>
      <pc:sldChg chg="addSp delSp modSp add mod">
        <pc:chgData name="Steyn, Pieter (PG)" userId="6d2e891b-d7e9-463f-b6f8-1c48f72b858b" providerId="ADAL" clId="{A5873021-61E7-4636-ABC0-258C020C419A}" dt="2025-10-04T02:26:32.640" v="512" actId="1076"/>
        <pc:sldMkLst>
          <pc:docMk/>
          <pc:sldMk cId="3966886095" sldId="2147483467"/>
        </pc:sldMkLst>
        <pc:spChg chg="mod">
          <ac:chgData name="Steyn, Pieter (PG)" userId="6d2e891b-d7e9-463f-b6f8-1c48f72b858b" providerId="ADAL" clId="{A5873021-61E7-4636-ABC0-258C020C419A}" dt="2025-10-04T02:26:32.640" v="512" actId="1076"/>
          <ac:spMkLst>
            <pc:docMk/>
            <pc:sldMk cId="3966886095" sldId="2147483467"/>
            <ac:spMk id="5" creationId="{5185BC33-7090-B7C7-76F2-EE3BCA29EF49}"/>
          </ac:spMkLst>
        </pc:spChg>
      </pc:sldChg>
      <pc:sldChg chg="addSp modSp new del mod">
        <pc:chgData name="Steyn, Pieter (PG)" userId="6d2e891b-d7e9-463f-b6f8-1c48f72b858b" providerId="ADAL" clId="{A5873021-61E7-4636-ABC0-258C020C419A}" dt="2025-10-04T05:39:18.511" v="657" actId="47"/>
        <pc:sldMkLst>
          <pc:docMk/>
          <pc:sldMk cId="3585508815" sldId="2147483468"/>
        </pc:sldMkLst>
      </pc:sldChg>
      <pc:sldChg chg="addSp delSp modSp add mod ord">
        <pc:chgData name="Steyn, Pieter (PG)" userId="6d2e891b-d7e9-463f-b6f8-1c48f72b858b" providerId="ADAL" clId="{A5873021-61E7-4636-ABC0-258C020C419A}" dt="2025-10-06T07:12:06.858" v="949" actId="1076"/>
        <pc:sldMkLst>
          <pc:docMk/>
          <pc:sldMk cId="3755106144" sldId="2147483469"/>
        </pc:sldMkLst>
        <pc:spChg chg="mod">
          <ac:chgData name="Steyn, Pieter (PG)" userId="6d2e891b-d7e9-463f-b6f8-1c48f72b858b" providerId="ADAL" clId="{A5873021-61E7-4636-ABC0-258C020C419A}" dt="2025-10-06T07:10:31.992" v="941" actId="1076"/>
          <ac:spMkLst>
            <pc:docMk/>
            <pc:sldMk cId="3755106144" sldId="2147483469"/>
            <ac:spMk id="2" creationId="{4136BAF7-30F5-F4D7-BC4E-903380DC7FFC}"/>
          </ac:spMkLst>
        </pc:spChg>
        <pc:spChg chg="mod">
          <ac:chgData name="Steyn, Pieter (PG)" userId="6d2e891b-d7e9-463f-b6f8-1c48f72b858b" providerId="ADAL" clId="{A5873021-61E7-4636-ABC0-258C020C419A}" dt="2025-10-06T07:09:34.059" v="936" actId="1076"/>
          <ac:spMkLst>
            <pc:docMk/>
            <pc:sldMk cId="3755106144" sldId="2147483469"/>
            <ac:spMk id="3" creationId="{D768D24D-DAD5-9F21-9DB4-2476FBD8F9E6}"/>
          </ac:spMkLst>
        </pc:spChg>
        <pc:spChg chg="mod">
          <ac:chgData name="Steyn, Pieter (PG)" userId="6d2e891b-d7e9-463f-b6f8-1c48f72b858b" providerId="ADAL" clId="{A5873021-61E7-4636-ABC0-258C020C419A}" dt="2025-10-06T07:10:40.933" v="942" actId="1076"/>
          <ac:spMkLst>
            <pc:docMk/>
            <pc:sldMk cId="3755106144" sldId="2147483469"/>
            <ac:spMk id="4" creationId="{511413F4-EEF6-E041-03CF-077549DD961D}"/>
          </ac:spMkLst>
        </pc:spChg>
        <pc:spChg chg="mod">
          <ac:chgData name="Steyn, Pieter (PG)" userId="6d2e891b-d7e9-463f-b6f8-1c48f72b858b" providerId="ADAL" clId="{A5873021-61E7-4636-ABC0-258C020C419A}" dt="2025-10-06T07:09:28.513" v="935" actId="1076"/>
          <ac:spMkLst>
            <pc:docMk/>
            <pc:sldMk cId="3755106144" sldId="2147483469"/>
            <ac:spMk id="6" creationId="{8F8D05F8-34AE-FD42-B85E-53EC4587C4A0}"/>
          </ac:spMkLst>
        </pc:spChg>
        <pc:spChg chg="mod">
          <ac:chgData name="Steyn, Pieter (PG)" userId="6d2e891b-d7e9-463f-b6f8-1c48f72b858b" providerId="ADAL" clId="{A5873021-61E7-4636-ABC0-258C020C419A}" dt="2025-10-04T02:35:38.554" v="579" actId="1076"/>
          <ac:spMkLst>
            <pc:docMk/>
            <pc:sldMk cId="3755106144" sldId="2147483469"/>
            <ac:spMk id="7" creationId="{1D918BE8-4367-D5ED-7463-DE183461BC18}"/>
          </ac:spMkLst>
        </pc:spChg>
        <pc:spChg chg="mod">
          <ac:chgData name="Steyn, Pieter (PG)" userId="6d2e891b-d7e9-463f-b6f8-1c48f72b858b" providerId="ADAL" clId="{A5873021-61E7-4636-ABC0-258C020C419A}" dt="2025-10-06T07:10:49.296" v="943" actId="1076"/>
          <ac:spMkLst>
            <pc:docMk/>
            <pc:sldMk cId="3755106144" sldId="2147483469"/>
            <ac:spMk id="8" creationId="{5EE8226E-A4DF-CF70-9DC3-3523F36855CD}"/>
          </ac:spMkLst>
        </pc:spChg>
        <pc:spChg chg="mod">
          <ac:chgData name="Steyn, Pieter (PG)" userId="6d2e891b-d7e9-463f-b6f8-1c48f72b858b" providerId="ADAL" clId="{A5873021-61E7-4636-ABC0-258C020C419A}" dt="2025-10-06T07:10:11.361" v="940" actId="1076"/>
          <ac:spMkLst>
            <pc:docMk/>
            <pc:sldMk cId="3755106144" sldId="2147483469"/>
            <ac:spMk id="9" creationId="{B6D989A4-B824-B35A-E7E6-66B10759A7DA}"/>
          </ac:spMkLst>
        </pc:spChg>
        <pc:spChg chg="mod">
          <ac:chgData name="Steyn, Pieter (PG)" userId="6d2e891b-d7e9-463f-b6f8-1c48f72b858b" providerId="ADAL" clId="{A5873021-61E7-4636-ABC0-258C020C419A}" dt="2025-10-06T07:11:00.115" v="944" actId="1076"/>
          <ac:spMkLst>
            <pc:docMk/>
            <pc:sldMk cId="3755106144" sldId="2147483469"/>
            <ac:spMk id="10" creationId="{96263D1D-2D43-D705-7825-A04C0A4EEB54}"/>
          </ac:spMkLst>
        </pc:spChg>
        <pc:spChg chg="mod">
          <ac:chgData name="Steyn, Pieter (PG)" userId="6d2e891b-d7e9-463f-b6f8-1c48f72b858b" providerId="ADAL" clId="{A5873021-61E7-4636-ABC0-258C020C419A}" dt="2025-10-06T07:12:06.858" v="949" actId="1076"/>
          <ac:spMkLst>
            <pc:docMk/>
            <pc:sldMk cId="3755106144" sldId="2147483469"/>
            <ac:spMk id="11" creationId="{D749A3A1-CBB9-6C39-3649-52B01FED7F85}"/>
          </ac:spMkLst>
        </pc:spChg>
        <pc:spChg chg="mod">
          <ac:chgData name="Steyn, Pieter (PG)" userId="6d2e891b-d7e9-463f-b6f8-1c48f72b858b" providerId="ADAL" clId="{A5873021-61E7-4636-ABC0-258C020C419A}" dt="2025-10-06T07:11:14.547" v="946" actId="1076"/>
          <ac:spMkLst>
            <pc:docMk/>
            <pc:sldMk cId="3755106144" sldId="2147483469"/>
            <ac:spMk id="13" creationId="{9E82C508-17C5-BA9C-6A5F-6489CCDDE92F}"/>
          </ac:spMkLst>
        </pc:spChg>
        <pc:spChg chg="add mod">
          <ac:chgData name="Steyn, Pieter (PG)" userId="6d2e891b-d7e9-463f-b6f8-1c48f72b858b" providerId="ADAL" clId="{A5873021-61E7-4636-ABC0-258C020C419A}" dt="2025-10-06T07:11:22.779" v="947" actId="1076"/>
          <ac:spMkLst>
            <pc:docMk/>
            <pc:sldMk cId="3755106144" sldId="2147483469"/>
            <ac:spMk id="16" creationId="{CC7EADFB-A2F6-C5E7-2CE6-7C9451B47424}"/>
          </ac:spMkLst>
        </pc:spChg>
        <pc:spChg chg="add mod">
          <ac:chgData name="Steyn, Pieter (PG)" userId="6d2e891b-d7e9-463f-b6f8-1c48f72b858b" providerId="ADAL" clId="{A5873021-61E7-4636-ABC0-258C020C419A}" dt="2025-10-06T07:11:31.522" v="948" actId="1076"/>
          <ac:spMkLst>
            <pc:docMk/>
            <pc:sldMk cId="3755106144" sldId="2147483469"/>
            <ac:spMk id="17" creationId="{F3057948-9DD5-9C4A-5EE7-8E38743A675A}"/>
          </ac:spMkLst>
        </pc:spChg>
        <pc:spChg chg="mod">
          <ac:chgData name="Steyn, Pieter (PG)" userId="6d2e891b-d7e9-463f-b6f8-1c48f72b858b" providerId="ADAL" clId="{A5873021-61E7-4636-ABC0-258C020C419A}" dt="2025-10-06T07:09:50.444" v="938" actId="1076"/>
          <ac:spMkLst>
            <pc:docMk/>
            <pc:sldMk cId="3755106144" sldId="2147483469"/>
            <ac:spMk id="45" creationId="{F7EF13DB-7AD2-8AC7-6429-F9F9D7E884C9}"/>
          </ac:spMkLst>
        </pc:spChg>
        <pc:spChg chg="mod">
          <ac:chgData name="Steyn, Pieter (PG)" userId="6d2e891b-d7e9-463f-b6f8-1c48f72b858b" providerId="ADAL" clId="{A5873021-61E7-4636-ABC0-258C020C419A}" dt="2025-10-06T07:09:41.281" v="937" actId="1076"/>
          <ac:spMkLst>
            <pc:docMk/>
            <pc:sldMk cId="3755106144" sldId="2147483469"/>
            <ac:spMk id="46" creationId="{5A0EBD9B-34E3-E90A-54A1-372C760DA014}"/>
          </ac:spMkLst>
        </pc:spChg>
        <pc:spChg chg="mod">
          <ac:chgData name="Steyn, Pieter (PG)" userId="6d2e891b-d7e9-463f-b6f8-1c48f72b858b" providerId="ADAL" clId="{A5873021-61E7-4636-ABC0-258C020C419A}" dt="2025-10-06T07:10:06.361" v="939" actId="1076"/>
          <ac:spMkLst>
            <pc:docMk/>
            <pc:sldMk cId="3755106144" sldId="2147483469"/>
            <ac:spMk id="50" creationId="{2A1CAA24-6E05-D87E-1FEA-F662F291A8C3}"/>
          </ac:spMkLst>
        </pc:spChg>
        <pc:cxnChg chg="mod">
          <ac:chgData name="Steyn, Pieter (PG)" userId="6d2e891b-d7e9-463f-b6f8-1c48f72b858b" providerId="ADAL" clId="{A5873021-61E7-4636-ABC0-258C020C419A}" dt="2025-10-06T07:11:22.779" v="947" actId="1076"/>
          <ac:cxnSpMkLst>
            <pc:docMk/>
            <pc:sldMk cId="3755106144" sldId="2147483469"/>
            <ac:cxnSpMk id="12" creationId="{270D8A15-B04A-6D14-8562-012A8C31A9D9}"/>
          </ac:cxnSpMkLst>
        </pc:cxnChg>
      </pc:sldChg>
      <pc:sldChg chg="addSp delSp modSp add mod">
        <pc:chgData name="Steyn, Pieter (PG)" userId="6d2e891b-d7e9-463f-b6f8-1c48f72b858b" providerId="ADAL" clId="{A5873021-61E7-4636-ABC0-258C020C419A}" dt="2025-10-07T00:05:44.255" v="1034" actId="14100"/>
        <pc:sldMkLst>
          <pc:docMk/>
          <pc:sldMk cId="172914843" sldId="2147483470"/>
        </pc:sldMkLst>
        <pc:spChg chg="mod">
          <ac:chgData name="Steyn, Pieter (PG)" userId="6d2e891b-d7e9-463f-b6f8-1c48f72b858b" providerId="ADAL" clId="{A5873021-61E7-4636-ABC0-258C020C419A}" dt="2025-10-06T02:21:53.758" v="667" actId="20577"/>
          <ac:spMkLst>
            <pc:docMk/>
            <pc:sldMk cId="172914843" sldId="2147483470"/>
            <ac:spMk id="4" creationId="{FA92C358-B07C-BD62-F520-8D4949139B62}"/>
          </ac:spMkLst>
        </pc:spChg>
        <pc:spChg chg="mod">
          <ac:chgData name="Steyn, Pieter (PG)" userId="6d2e891b-d7e9-463f-b6f8-1c48f72b858b" providerId="ADAL" clId="{A5873021-61E7-4636-ABC0-258C020C419A}" dt="2025-10-06T02:21:01.246" v="660"/>
          <ac:spMkLst>
            <pc:docMk/>
            <pc:sldMk cId="172914843" sldId="2147483470"/>
            <ac:spMk id="5" creationId="{882A3E52-59B1-C753-1289-202C1FE60495}"/>
          </ac:spMkLst>
        </pc:spChg>
        <pc:spChg chg="mod">
          <ac:chgData name="Steyn, Pieter (PG)" userId="6d2e891b-d7e9-463f-b6f8-1c48f72b858b" providerId="ADAL" clId="{A5873021-61E7-4636-ABC0-258C020C419A}" dt="2025-10-06T02:21:01.246" v="660"/>
          <ac:spMkLst>
            <pc:docMk/>
            <pc:sldMk cId="172914843" sldId="2147483470"/>
            <ac:spMk id="6" creationId="{2F06CEDA-4E2D-048F-861C-C2A064AE01B4}"/>
          </ac:spMkLst>
        </pc:spChg>
        <pc:spChg chg="mod">
          <ac:chgData name="Steyn, Pieter (PG)" userId="6d2e891b-d7e9-463f-b6f8-1c48f72b858b" providerId="ADAL" clId="{A5873021-61E7-4636-ABC0-258C020C419A}" dt="2025-10-06T22:55:54.118" v="1020" actId="20577"/>
          <ac:spMkLst>
            <pc:docMk/>
            <pc:sldMk cId="172914843" sldId="2147483470"/>
            <ac:spMk id="7" creationId="{B299BB3C-D303-F208-4E54-B93D561509A6}"/>
          </ac:spMkLst>
        </pc:spChg>
        <pc:spChg chg="mod">
          <ac:chgData name="Steyn, Pieter (PG)" userId="6d2e891b-d7e9-463f-b6f8-1c48f72b858b" providerId="ADAL" clId="{A5873021-61E7-4636-ABC0-258C020C419A}" dt="2025-10-06T02:21:01.246" v="660"/>
          <ac:spMkLst>
            <pc:docMk/>
            <pc:sldMk cId="172914843" sldId="2147483470"/>
            <ac:spMk id="8" creationId="{C5A3EE05-778F-AB6A-7FE1-7E419BCC6124}"/>
          </ac:spMkLst>
        </pc:spChg>
        <pc:spChg chg="mod">
          <ac:chgData name="Steyn, Pieter (PG)" userId="6d2e891b-d7e9-463f-b6f8-1c48f72b858b" providerId="ADAL" clId="{A5873021-61E7-4636-ABC0-258C020C419A}" dt="2025-10-06T02:21:01.246" v="660"/>
          <ac:spMkLst>
            <pc:docMk/>
            <pc:sldMk cId="172914843" sldId="2147483470"/>
            <ac:spMk id="9" creationId="{E0F1A434-169B-61DC-59DB-4E7AAB17C5B1}"/>
          </ac:spMkLst>
        </pc:spChg>
        <pc:spChg chg="mod">
          <ac:chgData name="Steyn, Pieter (PG)" userId="6d2e891b-d7e9-463f-b6f8-1c48f72b858b" providerId="ADAL" clId="{A5873021-61E7-4636-ABC0-258C020C419A}" dt="2025-10-06T02:21:01.246" v="660"/>
          <ac:spMkLst>
            <pc:docMk/>
            <pc:sldMk cId="172914843" sldId="2147483470"/>
            <ac:spMk id="11" creationId="{C8714147-031E-7103-A883-FAD6F6A72836}"/>
          </ac:spMkLst>
        </pc:spChg>
        <pc:spChg chg="mod">
          <ac:chgData name="Steyn, Pieter (PG)" userId="6d2e891b-d7e9-463f-b6f8-1c48f72b858b" providerId="ADAL" clId="{A5873021-61E7-4636-ABC0-258C020C419A}" dt="2025-10-06T22:40:55.948" v="950" actId="207"/>
          <ac:spMkLst>
            <pc:docMk/>
            <pc:sldMk cId="172914843" sldId="2147483470"/>
            <ac:spMk id="12" creationId="{C599BC13-F067-B979-5A49-39D2A27135D0}"/>
          </ac:spMkLst>
        </pc:spChg>
        <pc:spChg chg="mod">
          <ac:chgData name="Steyn, Pieter (PG)" userId="6d2e891b-d7e9-463f-b6f8-1c48f72b858b" providerId="ADAL" clId="{A5873021-61E7-4636-ABC0-258C020C419A}" dt="2025-10-06T02:21:01.246" v="660"/>
          <ac:spMkLst>
            <pc:docMk/>
            <pc:sldMk cId="172914843" sldId="2147483470"/>
            <ac:spMk id="14" creationId="{E9F74188-789B-9ABD-88A4-FFE6BD863FA3}"/>
          </ac:spMkLst>
        </pc:spChg>
        <pc:spChg chg="mod">
          <ac:chgData name="Steyn, Pieter (PG)" userId="6d2e891b-d7e9-463f-b6f8-1c48f72b858b" providerId="ADAL" clId="{A5873021-61E7-4636-ABC0-258C020C419A}" dt="2025-10-06T02:21:01.246" v="660"/>
          <ac:spMkLst>
            <pc:docMk/>
            <pc:sldMk cId="172914843" sldId="2147483470"/>
            <ac:spMk id="15" creationId="{275B3D13-AC2B-436D-51F2-0F9D49422F94}"/>
          </ac:spMkLst>
        </pc:spChg>
        <pc:spChg chg="mod">
          <ac:chgData name="Steyn, Pieter (PG)" userId="6d2e891b-d7e9-463f-b6f8-1c48f72b858b" providerId="ADAL" clId="{A5873021-61E7-4636-ABC0-258C020C419A}" dt="2025-10-06T02:21:01.246" v="660"/>
          <ac:spMkLst>
            <pc:docMk/>
            <pc:sldMk cId="172914843" sldId="2147483470"/>
            <ac:spMk id="16" creationId="{5F5C9CD7-BB79-CE26-B12F-530D6351B923}"/>
          </ac:spMkLst>
        </pc:spChg>
        <pc:spChg chg="mod">
          <ac:chgData name="Steyn, Pieter (PG)" userId="6d2e891b-d7e9-463f-b6f8-1c48f72b858b" providerId="ADAL" clId="{A5873021-61E7-4636-ABC0-258C020C419A}" dt="2025-10-06T22:55:46.338" v="1017" actId="1076"/>
          <ac:spMkLst>
            <pc:docMk/>
            <pc:sldMk cId="172914843" sldId="2147483470"/>
            <ac:spMk id="30" creationId="{F912EE75-E969-8F33-522E-4F89DAD6D92B}"/>
          </ac:spMkLst>
        </pc:spChg>
        <pc:grpChg chg="mod">
          <ac:chgData name="Steyn, Pieter (PG)" userId="6d2e891b-d7e9-463f-b6f8-1c48f72b858b" providerId="ADAL" clId="{A5873021-61E7-4636-ABC0-258C020C419A}" dt="2025-10-06T22:56:05.785" v="1024" actId="1076"/>
          <ac:grpSpMkLst>
            <pc:docMk/>
            <pc:sldMk cId="172914843" sldId="2147483470"/>
            <ac:grpSpMk id="2" creationId="{A7C7797D-7BAD-7AD3-73CF-2C41D70B91BD}"/>
          </ac:grpSpMkLst>
        </pc:grpChg>
        <pc:picChg chg="add mod">
          <ac:chgData name="Steyn, Pieter (PG)" userId="6d2e891b-d7e9-463f-b6f8-1c48f72b858b" providerId="ADAL" clId="{A5873021-61E7-4636-ABC0-258C020C419A}" dt="2025-10-06T22:56:11.172" v="1027" actId="1076"/>
          <ac:picMkLst>
            <pc:docMk/>
            <pc:sldMk cId="172914843" sldId="2147483470"/>
            <ac:picMk id="19" creationId="{3DFDD71A-AA6A-1AF5-4A6A-67D5B3CE889C}"/>
          </ac:picMkLst>
        </pc:picChg>
        <pc:picChg chg="add mod">
          <ac:chgData name="Steyn, Pieter (PG)" userId="6d2e891b-d7e9-463f-b6f8-1c48f72b858b" providerId="ADAL" clId="{A5873021-61E7-4636-ABC0-258C020C419A}" dt="2025-10-07T00:05:44.255" v="1034" actId="14100"/>
          <ac:picMkLst>
            <pc:docMk/>
            <pc:sldMk cId="172914843" sldId="2147483470"/>
            <ac:picMk id="1026" creationId="{E652A350-D745-EB8B-0A50-0AC07B1BF8B2}"/>
          </ac:picMkLst>
        </pc:picChg>
      </pc:sldChg>
      <pc:sldChg chg="addSp delSp modSp add mod">
        <pc:chgData name="Steyn, Pieter (PG)" userId="6d2e891b-d7e9-463f-b6f8-1c48f72b858b" providerId="ADAL" clId="{A5873021-61E7-4636-ABC0-258C020C419A}" dt="2025-10-07T00:06:03.956" v="1035" actId="1076"/>
        <pc:sldMkLst>
          <pc:docMk/>
          <pc:sldMk cId="2090935419" sldId="2147483471"/>
        </pc:sldMkLst>
        <pc:spChg chg="mod">
          <ac:chgData name="Steyn, Pieter (PG)" userId="6d2e891b-d7e9-463f-b6f8-1c48f72b858b" providerId="ADAL" clId="{A5873021-61E7-4636-ABC0-258C020C419A}" dt="2025-10-06T02:23:39.338" v="668" actId="1076"/>
          <ac:spMkLst>
            <pc:docMk/>
            <pc:sldMk cId="2090935419" sldId="2147483471"/>
            <ac:spMk id="3" creationId="{1DBBD7AF-6AAC-F014-214A-B93526E87013}"/>
          </ac:spMkLst>
        </pc:spChg>
        <pc:spChg chg="mod">
          <ac:chgData name="Steyn, Pieter (PG)" userId="6d2e891b-d7e9-463f-b6f8-1c48f72b858b" providerId="ADAL" clId="{A5873021-61E7-4636-ABC0-258C020C419A}" dt="2025-10-06T02:36:18.108" v="680"/>
          <ac:spMkLst>
            <pc:docMk/>
            <pc:sldMk cId="2090935419" sldId="2147483471"/>
            <ac:spMk id="4" creationId="{031B612F-E123-D111-4D15-72D720B3029F}"/>
          </ac:spMkLst>
        </pc:spChg>
        <pc:spChg chg="mod">
          <ac:chgData name="Steyn, Pieter (PG)" userId="6d2e891b-d7e9-463f-b6f8-1c48f72b858b" providerId="ADAL" clId="{A5873021-61E7-4636-ABC0-258C020C419A}" dt="2025-10-06T02:23:39.338" v="668" actId="1076"/>
          <ac:spMkLst>
            <pc:docMk/>
            <pc:sldMk cId="2090935419" sldId="2147483471"/>
            <ac:spMk id="6" creationId="{01E3F592-B42D-F4BF-CA06-C3FB7E217EF3}"/>
          </ac:spMkLst>
        </pc:spChg>
        <pc:spChg chg="mod">
          <ac:chgData name="Steyn, Pieter (PG)" userId="6d2e891b-d7e9-463f-b6f8-1c48f72b858b" providerId="ADAL" clId="{A5873021-61E7-4636-ABC0-258C020C419A}" dt="2025-10-06T02:36:18.108" v="680"/>
          <ac:spMkLst>
            <pc:docMk/>
            <pc:sldMk cId="2090935419" sldId="2147483471"/>
            <ac:spMk id="7" creationId="{F392119F-087C-E923-2CD7-F4A8355BB629}"/>
          </ac:spMkLst>
        </pc:spChg>
        <pc:spChg chg="mod">
          <ac:chgData name="Steyn, Pieter (PG)" userId="6d2e891b-d7e9-463f-b6f8-1c48f72b858b" providerId="ADAL" clId="{A5873021-61E7-4636-ABC0-258C020C419A}" dt="2025-10-06T02:36:18.108" v="680"/>
          <ac:spMkLst>
            <pc:docMk/>
            <pc:sldMk cId="2090935419" sldId="2147483471"/>
            <ac:spMk id="8" creationId="{570380D4-C35B-8878-7A89-E9186797B60F}"/>
          </ac:spMkLst>
        </pc:spChg>
        <pc:spChg chg="mod">
          <ac:chgData name="Steyn, Pieter (PG)" userId="6d2e891b-d7e9-463f-b6f8-1c48f72b858b" providerId="ADAL" clId="{A5873021-61E7-4636-ABC0-258C020C419A}" dt="2025-10-06T02:36:18.108" v="680"/>
          <ac:spMkLst>
            <pc:docMk/>
            <pc:sldMk cId="2090935419" sldId="2147483471"/>
            <ac:spMk id="9" creationId="{254AAE0B-FF02-76E7-28DF-1F85ACC60514}"/>
          </ac:spMkLst>
        </pc:spChg>
        <pc:spChg chg="mod">
          <ac:chgData name="Steyn, Pieter (PG)" userId="6d2e891b-d7e9-463f-b6f8-1c48f72b858b" providerId="ADAL" clId="{A5873021-61E7-4636-ABC0-258C020C419A}" dt="2025-10-06T02:36:18.108" v="680"/>
          <ac:spMkLst>
            <pc:docMk/>
            <pc:sldMk cId="2090935419" sldId="2147483471"/>
            <ac:spMk id="10" creationId="{6751CEE9-62D2-6CB5-92EC-ADCA3ADBDA46}"/>
          </ac:spMkLst>
        </pc:spChg>
        <pc:spChg chg="mod">
          <ac:chgData name="Steyn, Pieter (PG)" userId="6d2e891b-d7e9-463f-b6f8-1c48f72b858b" providerId="ADAL" clId="{A5873021-61E7-4636-ABC0-258C020C419A}" dt="2025-10-06T02:36:18.108" v="680"/>
          <ac:spMkLst>
            <pc:docMk/>
            <pc:sldMk cId="2090935419" sldId="2147483471"/>
            <ac:spMk id="11" creationId="{7B798021-51D7-1FB6-A421-C26DA8B7BCCF}"/>
          </ac:spMkLst>
        </pc:spChg>
        <pc:spChg chg="mod">
          <ac:chgData name="Steyn, Pieter (PG)" userId="6d2e891b-d7e9-463f-b6f8-1c48f72b858b" providerId="ADAL" clId="{A5873021-61E7-4636-ABC0-258C020C419A}" dt="2025-10-06T02:36:18.108" v="680"/>
          <ac:spMkLst>
            <pc:docMk/>
            <pc:sldMk cId="2090935419" sldId="2147483471"/>
            <ac:spMk id="12" creationId="{08CFF901-C5F0-4BB2-2E4E-F51995B4EE33}"/>
          </ac:spMkLst>
        </pc:spChg>
        <pc:spChg chg="add mod">
          <ac:chgData name="Steyn, Pieter (PG)" userId="6d2e891b-d7e9-463f-b6f8-1c48f72b858b" providerId="ADAL" clId="{A5873021-61E7-4636-ABC0-258C020C419A}" dt="2025-10-06T22:55:14.208" v="1010" actId="1076"/>
          <ac:spMkLst>
            <pc:docMk/>
            <pc:sldMk cId="2090935419" sldId="2147483471"/>
            <ac:spMk id="13" creationId="{1C8305C1-AE04-733F-CB22-635DB5CC0908}"/>
          </ac:spMkLst>
        </pc:spChg>
        <pc:spChg chg="add mod">
          <ac:chgData name="Steyn, Pieter (PG)" userId="6d2e891b-d7e9-463f-b6f8-1c48f72b858b" providerId="ADAL" clId="{A5873021-61E7-4636-ABC0-258C020C419A}" dt="2025-10-06T22:55:14.208" v="1010" actId="1076"/>
          <ac:spMkLst>
            <pc:docMk/>
            <pc:sldMk cId="2090935419" sldId="2147483471"/>
            <ac:spMk id="14" creationId="{3F47A1AA-E53C-3839-0E9C-573A2A4341DF}"/>
          </ac:spMkLst>
        </pc:spChg>
        <pc:spChg chg="add mod">
          <ac:chgData name="Steyn, Pieter (PG)" userId="6d2e891b-d7e9-463f-b6f8-1c48f72b858b" providerId="ADAL" clId="{A5873021-61E7-4636-ABC0-258C020C419A}" dt="2025-10-06T22:55:14.208" v="1010" actId="1076"/>
          <ac:spMkLst>
            <pc:docMk/>
            <pc:sldMk cId="2090935419" sldId="2147483471"/>
            <ac:spMk id="16" creationId="{0CB193C5-11F1-698A-E6D9-F047E6B01B5E}"/>
          </ac:spMkLst>
        </pc:spChg>
        <pc:spChg chg="add mod">
          <ac:chgData name="Steyn, Pieter (PG)" userId="6d2e891b-d7e9-463f-b6f8-1c48f72b858b" providerId="ADAL" clId="{A5873021-61E7-4636-ABC0-258C020C419A}" dt="2025-10-06T22:55:14.208" v="1010" actId="1076"/>
          <ac:spMkLst>
            <pc:docMk/>
            <pc:sldMk cId="2090935419" sldId="2147483471"/>
            <ac:spMk id="17" creationId="{B04E1BFD-9BC3-3542-98AD-6CCD310E09C3}"/>
          </ac:spMkLst>
        </pc:spChg>
        <pc:spChg chg="add mod">
          <ac:chgData name="Steyn, Pieter (PG)" userId="6d2e891b-d7e9-463f-b6f8-1c48f72b858b" providerId="ADAL" clId="{A5873021-61E7-4636-ABC0-258C020C419A}" dt="2025-10-06T22:55:14.208" v="1010" actId="1076"/>
          <ac:spMkLst>
            <pc:docMk/>
            <pc:sldMk cId="2090935419" sldId="2147483471"/>
            <ac:spMk id="18" creationId="{A2446F10-7DC4-8CFD-3D36-0E8727C138F7}"/>
          </ac:spMkLst>
        </pc:spChg>
        <pc:spChg chg="mod">
          <ac:chgData name="Steyn, Pieter (PG)" userId="6d2e891b-d7e9-463f-b6f8-1c48f72b858b" providerId="ADAL" clId="{A5873021-61E7-4636-ABC0-258C020C419A}" dt="2025-10-06T02:23:39.338" v="668" actId="1076"/>
          <ac:spMkLst>
            <pc:docMk/>
            <pc:sldMk cId="2090935419" sldId="2147483471"/>
            <ac:spMk id="45" creationId="{4A160212-767E-4991-BDB6-FD586C80E7CA}"/>
          </ac:spMkLst>
        </pc:spChg>
        <pc:spChg chg="mod">
          <ac:chgData name="Steyn, Pieter (PG)" userId="6d2e891b-d7e9-463f-b6f8-1c48f72b858b" providerId="ADAL" clId="{A5873021-61E7-4636-ABC0-258C020C419A}" dt="2025-10-06T02:23:39.338" v="668" actId="1076"/>
          <ac:spMkLst>
            <pc:docMk/>
            <pc:sldMk cId="2090935419" sldId="2147483471"/>
            <ac:spMk id="46" creationId="{4EDB7397-ABDE-F27C-13A8-637DEA84523C}"/>
          </ac:spMkLst>
        </pc:spChg>
        <pc:grpChg chg="add mod">
          <ac:chgData name="Steyn, Pieter (PG)" userId="6d2e891b-d7e9-463f-b6f8-1c48f72b858b" providerId="ADAL" clId="{A5873021-61E7-4636-ABC0-258C020C419A}" dt="2025-10-06T22:55:14.208" v="1010" actId="1076"/>
          <ac:grpSpMkLst>
            <pc:docMk/>
            <pc:sldMk cId="2090935419" sldId="2147483471"/>
            <ac:grpSpMk id="2" creationId="{4CB44F02-380C-2389-8541-002D658BB4E7}"/>
          </ac:grpSpMkLst>
        </pc:grpChg>
        <pc:picChg chg="add del mod">
          <ac:chgData name="Steyn, Pieter (PG)" userId="6d2e891b-d7e9-463f-b6f8-1c48f72b858b" providerId="ADAL" clId="{A5873021-61E7-4636-ABC0-258C020C419A}" dt="2025-10-06T22:46:12.596" v="959" actId="478"/>
          <ac:picMkLst>
            <pc:docMk/>
            <pc:sldMk cId="2090935419" sldId="2147483471"/>
            <ac:picMk id="5" creationId="{08B2820E-DCD6-7FEE-35C2-8235B22914BA}"/>
          </ac:picMkLst>
        </pc:picChg>
        <pc:picChg chg="add del mod">
          <ac:chgData name="Steyn, Pieter (PG)" userId="6d2e891b-d7e9-463f-b6f8-1c48f72b858b" providerId="ADAL" clId="{A5873021-61E7-4636-ABC0-258C020C419A}" dt="2025-10-06T22:48:19.617" v="968" actId="478"/>
          <ac:picMkLst>
            <pc:docMk/>
            <pc:sldMk cId="2090935419" sldId="2147483471"/>
            <ac:picMk id="20" creationId="{998B6EF7-D4B1-593D-6D31-586726E1730F}"/>
          </ac:picMkLst>
        </pc:picChg>
        <pc:picChg chg="add mod">
          <ac:chgData name="Steyn, Pieter (PG)" userId="6d2e891b-d7e9-463f-b6f8-1c48f72b858b" providerId="ADAL" clId="{A5873021-61E7-4636-ABC0-258C020C419A}" dt="2025-10-06T22:55:34.620" v="1016" actId="14100"/>
          <ac:picMkLst>
            <pc:docMk/>
            <pc:sldMk cId="2090935419" sldId="2147483471"/>
            <ac:picMk id="21" creationId="{EA51C8B9-1CDE-FCCB-38BB-9B226F7D7CAF}"/>
          </ac:picMkLst>
        </pc:picChg>
        <pc:picChg chg="add mod">
          <ac:chgData name="Steyn, Pieter (PG)" userId="6d2e891b-d7e9-463f-b6f8-1c48f72b858b" providerId="ADAL" clId="{A5873021-61E7-4636-ABC0-258C020C419A}" dt="2025-10-07T00:06:03.956" v="1035" actId="1076"/>
          <ac:picMkLst>
            <pc:docMk/>
            <pc:sldMk cId="2090935419" sldId="2147483471"/>
            <ac:picMk id="1026" creationId="{454C15CD-742D-A962-B3CF-C5B28A8D2369}"/>
          </ac:picMkLst>
        </pc:picChg>
        <pc:cxnChg chg="add mod">
          <ac:chgData name="Steyn, Pieter (PG)" userId="6d2e891b-d7e9-463f-b6f8-1c48f72b858b" providerId="ADAL" clId="{A5873021-61E7-4636-ABC0-258C020C419A}" dt="2025-10-06T22:55:14.208" v="1010" actId="1076"/>
          <ac:cxnSpMkLst>
            <pc:docMk/>
            <pc:sldMk cId="2090935419" sldId="2147483471"/>
            <ac:cxnSpMk id="15" creationId="{2275BC9B-6D4B-76F2-7D1C-843BC50523C0}"/>
          </ac:cxnSpMkLst>
        </pc:cxnChg>
      </pc:sldChg>
      <pc:sldChg chg="addSp delSp modSp add mod">
        <pc:chgData name="Steyn, Pieter (PG)" userId="6d2e891b-d7e9-463f-b6f8-1c48f72b858b" providerId="ADAL" clId="{A5873021-61E7-4636-ABC0-258C020C419A}" dt="2025-10-07T00:06:48.672" v="1039" actId="404"/>
        <pc:sldMkLst>
          <pc:docMk/>
          <pc:sldMk cId="834653269" sldId="2147483472"/>
        </pc:sldMkLst>
        <pc:spChg chg="mod">
          <ac:chgData name="Steyn, Pieter (PG)" userId="6d2e891b-d7e9-463f-b6f8-1c48f72b858b" providerId="ADAL" clId="{A5873021-61E7-4636-ABC0-258C020C419A}" dt="2025-10-07T00:06:48.672" v="1039" actId="404"/>
          <ac:spMkLst>
            <pc:docMk/>
            <pc:sldMk cId="834653269" sldId="2147483472"/>
            <ac:spMk id="4" creationId="{908BEB1C-5CEC-84F1-DE5C-340FEC07018C}"/>
          </ac:spMkLst>
        </pc:spChg>
        <pc:spChg chg="add mod">
          <ac:chgData name="Steyn, Pieter (PG)" userId="6d2e891b-d7e9-463f-b6f8-1c48f72b858b" providerId="ADAL" clId="{A5873021-61E7-4636-ABC0-258C020C419A}" dt="2025-10-06T22:54:50.026" v="1004" actId="1076"/>
          <ac:spMkLst>
            <pc:docMk/>
            <pc:sldMk cId="834653269" sldId="2147483472"/>
            <ac:spMk id="5" creationId="{CFD0CA6A-1D98-0092-A0CD-EF0798AB31C3}"/>
          </ac:spMkLst>
        </pc:spChg>
        <pc:spChg chg="mod">
          <ac:chgData name="Steyn, Pieter (PG)" userId="6d2e891b-d7e9-463f-b6f8-1c48f72b858b" providerId="ADAL" clId="{A5873021-61E7-4636-ABC0-258C020C419A}" dt="2025-10-06T02:46:00.610" v="773" actId="20577"/>
          <ac:spMkLst>
            <pc:docMk/>
            <pc:sldMk cId="834653269" sldId="2147483472"/>
            <ac:spMk id="6" creationId="{B9F76E92-4630-53B2-DBA2-64E165A32531}"/>
          </ac:spMkLst>
        </pc:spChg>
        <pc:spChg chg="mod">
          <ac:chgData name="Steyn, Pieter (PG)" userId="6d2e891b-d7e9-463f-b6f8-1c48f72b858b" providerId="ADAL" clId="{A5873021-61E7-4636-ABC0-258C020C419A}" dt="2025-10-07T00:06:48.672" v="1039" actId="404"/>
          <ac:spMkLst>
            <pc:docMk/>
            <pc:sldMk cId="834653269" sldId="2147483472"/>
            <ac:spMk id="7" creationId="{73DCB69D-1048-E358-392B-4E1FBB49331C}"/>
          </ac:spMkLst>
        </pc:spChg>
        <pc:spChg chg="mod">
          <ac:chgData name="Steyn, Pieter (PG)" userId="6d2e891b-d7e9-463f-b6f8-1c48f72b858b" providerId="ADAL" clId="{A5873021-61E7-4636-ABC0-258C020C419A}" dt="2025-10-06T02:45:42.111" v="751" actId="14100"/>
          <ac:spMkLst>
            <pc:docMk/>
            <pc:sldMk cId="834653269" sldId="2147483472"/>
            <ac:spMk id="8" creationId="{EE52A6F0-992F-7EED-646A-743701C7210B}"/>
          </ac:spMkLst>
        </pc:spChg>
        <pc:spChg chg="mod">
          <ac:chgData name="Steyn, Pieter (PG)" userId="6d2e891b-d7e9-463f-b6f8-1c48f72b858b" providerId="ADAL" clId="{A5873021-61E7-4636-ABC0-258C020C419A}" dt="2025-10-06T22:54:52.870" v="1005" actId="1076"/>
          <ac:spMkLst>
            <pc:docMk/>
            <pc:sldMk cId="834653269" sldId="2147483472"/>
            <ac:spMk id="9" creationId="{51176AFE-8D23-03F8-FB90-27AE9031F1B2}"/>
          </ac:spMkLst>
        </pc:spChg>
        <pc:spChg chg="mod">
          <ac:chgData name="Steyn, Pieter (PG)" userId="6d2e891b-d7e9-463f-b6f8-1c48f72b858b" providerId="ADAL" clId="{A5873021-61E7-4636-ABC0-258C020C419A}" dt="2025-10-07T00:06:48.672" v="1039" actId="404"/>
          <ac:spMkLst>
            <pc:docMk/>
            <pc:sldMk cId="834653269" sldId="2147483472"/>
            <ac:spMk id="10" creationId="{85597267-34E0-FAC4-4DDE-14F32B266D62}"/>
          </ac:spMkLst>
        </pc:spChg>
        <pc:spChg chg="mod">
          <ac:chgData name="Steyn, Pieter (PG)" userId="6d2e891b-d7e9-463f-b6f8-1c48f72b858b" providerId="ADAL" clId="{A5873021-61E7-4636-ABC0-258C020C419A}" dt="2025-10-07T00:06:48.672" v="1039" actId="404"/>
          <ac:spMkLst>
            <pc:docMk/>
            <pc:sldMk cId="834653269" sldId="2147483472"/>
            <ac:spMk id="12" creationId="{80605DE9-F0DC-F908-DC5C-1D6C4B8EC7D2}"/>
          </ac:spMkLst>
        </pc:spChg>
        <pc:spChg chg="mod">
          <ac:chgData name="Steyn, Pieter (PG)" userId="6d2e891b-d7e9-463f-b6f8-1c48f72b858b" providerId="ADAL" clId="{A5873021-61E7-4636-ABC0-258C020C419A}" dt="2025-10-07T00:06:48.672" v="1039" actId="404"/>
          <ac:spMkLst>
            <pc:docMk/>
            <pc:sldMk cId="834653269" sldId="2147483472"/>
            <ac:spMk id="13" creationId="{305BE689-347C-0AF9-20D7-C6D15756A6D7}"/>
          </ac:spMkLst>
        </pc:spChg>
        <pc:spChg chg="mod">
          <ac:chgData name="Steyn, Pieter (PG)" userId="6d2e891b-d7e9-463f-b6f8-1c48f72b858b" providerId="ADAL" clId="{A5873021-61E7-4636-ABC0-258C020C419A}" dt="2025-10-07T00:06:48.672" v="1039" actId="404"/>
          <ac:spMkLst>
            <pc:docMk/>
            <pc:sldMk cId="834653269" sldId="2147483472"/>
            <ac:spMk id="14" creationId="{62AD766D-D511-060E-3143-3C7DDC5E10DA}"/>
          </ac:spMkLst>
        </pc:spChg>
        <pc:spChg chg="mod">
          <ac:chgData name="Steyn, Pieter (PG)" userId="6d2e891b-d7e9-463f-b6f8-1c48f72b858b" providerId="ADAL" clId="{A5873021-61E7-4636-ABC0-258C020C419A}" dt="2025-10-07T00:06:48.672" v="1039" actId="404"/>
          <ac:spMkLst>
            <pc:docMk/>
            <pc:sldMk cId="834653269" sldId="2147483472"/>
            <ac:spMk id="15" creationId="{36FFD674-7480-D13F-C63C-F1F31B16B4E6}"/>
          </ac:spMkLst>
        </pc:spChg>
        <pc:spChg chg="mod">
          <ac:chgData name="Steyn, Pieter (PG)" userId="6d2e891b-d7e9-463f-b6f8-1c48f72b858b" providerId="ADAL" clId="{A5873021-61E7-4636-ABC0-258C020C419A}" dt="2025-10-06T02:45:31.059" v="739"/>
          <ac:spMkLst>
            <pc:docMk/>
            <pc:sldMk cId="834653269" sldId="2147483472"/>
            <ac:spMk id="16" creationId="{86CA7769-C687-9DEC-FE6A-65D818E26991}"/>
          </ac:spMkLst>
        </pc:spChg>
        <pc:spChg chg="mod">
          <ac:chgData name="Steyn, Pieter (PG)" userId="6d2e891b-d7e9-463f-b6f8-1c48f72b858b" providerId="ADAL" clId="{A5873021-61E7-4636-ABC0-258C020C419A}" dt="2025-10-07T00:06:48.672" v="1039" actId="404"/>
          <ac:spMkLst>
            <pc:docMk/>
            <pc:sldMk cId="834653269" sldId="2147483472"/>
            <ac:spMk id="17" creationId="{2D365E22-E44C-2952-AEE7-AD709E313544}"/>
          </ac:spMkLst>
        </pc:spChg>
        <pc:spChg chg="mod">
          <ac:chgData name="Steyn, Pieter (PG)" userId="6d2e891b-d7e9-463f-b6f8-1c48f72b858b" providerId="ADAL" clId="{A5873021-61E7-4636-ABC0-258C020C419A}" dt="2025-10-07T00:06:48.672" v="1039" actId="404"/>
          <ac:spMkLst>
            <pc:docMk/>
            <pc:sldMk cId="834653269" sldId="2147483472"/>
            <ac:spMk id="18" creationId="{EB9CCDF4-D946-EF65-911A-DDAE04776027}"/>
          </ac:spMkLst>
        </pc:spChg>
        <pc:spChg chg="mod">
          <ac:chgData name="Steyn, Pieter (PG)" userId="6d2e891b-d7e9-463f-b6f8-1c48f72b858b" providerId="ADAL" clId="{A5873021-61E7-4636-ABC0-258C020C419A}" dt="2025-10-07T00:06:48.672" v="1039" actId="404"/>
          <ac:spMkLst>
            <pc:docMk/>
            <pc:sldMk cId="834653269" sldId="2147483472"/>
            <ac:spMk id="19" creationId="{E76FF83D-2236-2C67-7DB8-557ECCECD51D}"/>
          </ac:spMkLst>
        </pc:spChg>
        <pc:spChg chg="mod">
          <ac:chgData name="Steyn, Pieter (PG)" userId="6d2e891b-d7e9-463f-b6f8-1c48f72b858b" providerId="ADAL" clId="{A5873021-61E7-4636-ABC0-258C020C419A}" dt="2025-10-06T02:39:36.917" v="733" actId="1076"/>
          <ac:spMkLst>
            <pc:docMk/>
            <pc:sldMk cId="834653269" sldId="2147483472"/>
            <ac:spMk id="50" creationId="{F5FD6FEC-FEA9-603A-3D56-F8C40BCC8B49}"/>
          </ac:spMkLst>
        </pc:spChg>
        <pc:grpChg chg="mod">
          <ac:chgData name="Steyn, Pieter (PG)" userId="6d2e891b-d7e9-463f-b6f8-1c48f72b858b" providerId="ADAL" clId="{A5873021-61E7-4636-ABC0-258C020C419A}" dt="2025-10-07T00:06:41.108" v="1036" actId="14100"/>
          <ac:grpSpMkLst>
            <pc:docMk/>
            <pc:sldMk cId="834653269" sldId="2147483472"/>
            <ac:grpSpMk id="2" creationId="{A5395FA5-18A9-ACCA-0108-0B77AB80EF5B}"/>
          </ac:grpSpMkLst>
        </pc:grpChg>
        <pc:picChg chg="add mod">
          <ac:chgData name="Steyn, Pieter (PG)" userId="6d2e891b-d7e9-463f-b6f8-1c48f72b858b" providerId="ADAL" clId="{A5873021-61E7-4636-ABC0-258C020C419A}" dt="2025-10-06T22:55:00.988" v="1009" actId="14100"/>
          <ac:picMkLst>
            <pc:docMk/>
            <pc:sldMk cId="834653269" sldId="2147483472"/>
            <ac:picMk id="21" creationId="{B499951B-645F-870E-9C6F-E3E95F9FCE18}"/>
          </ac:picMkLst>
        </pc:picChg>
      </pc:sldChg>
      <pc:sldChg chg="addSp delSp modSp add mod">
        <pc:chgData name="Steyn, Pieter (PG)" userId="6d2e891b-d7e9-463f-b6f8-1c48f72b858b" providerId="ADAL" clId="{A5873021-61E7-4636-ABC0-258C020C419A}" dt="2025-10-07T00:07:06.611" v="1041" actId="1076"/>
        <pc:sldMkLst>
          <pc:docMk/>
          <pc:sldMk cId="4154770799" sldId="2147483473"/>
        </pc:sldMkLst>
        <pc:spChg chg="mod">
          <ac:chgData name="Steyn, Pieter (PG)" userId="6d2e891b-d7e9-463f-b6f8-1c48f72b858b" providerId="ADAL" clId="{A5873021-61E7-4636-ABC0-258C020C419A}" dt="2025-10-06T02:47:07.477" v="792" actId="1076"/>
          <ac:spMkLst>
            <pc:docMk/>
            <pc:sldMk cId="4154770799" sldId="2147483473"/>
            <ac:spMk id="2" creationId="{0145DE6F-D39C-3183-DD66-9142A0ACFFCE}"/>
          </ac:spMkLst>
        </pc:spChg>
        <pc:spChg chg="add mod">
          <ac:chgData name="Steyn, Pieter (PG)" userId="6d2e891b-d7e9-463f-b6f8-1c48f72b858b" providerId="ADAL" clId="{A5873021-61E7-4636-ABC0-258C020C419A}" dt="2025-10-06T22:54:39.816" v="1000" actId="1076"/>
          <ac:spMkLst>
            <pc:docMk/>
            <pc:sldMk cId="4154770799" sldId="2147483473"/>
            <ac:spMk id="3" creationId="{33625A09-1906-8D4F-C62B-3A80A1646842}"/>
          </ac:spMkLst>
        </pc:spChg>
        <pc:spChg chg="mod">
          <ac:chgData name="Steyn, Pieter (PG)" userId="6d2e891b-d7e9-463f-b6f8-1c48f72b858b" providerId="ADAL" clId="{A5873021-61E7-4636-ABC0-258C020C419A}" dt="2025-10-06T02:47:07.477" v="792" actId="1076"/>
          <ac:spMkLst>
            <pc:docMk/>
            <pc:sldMk cId="4154770799" sldId="2147483473"/>
            <ac:spMk id="4" creationId="{0ECA59A7-D6B8-93D2-208E-2D556A02AB6A}"/>
          </ac:spMkLst>
        </pc:spChg>
        <pc:spChg chg="add mod">
          <ac:chgData name="Steyn, Pieter (PG)" userId="6d2e891b-d7e9-463f-b6f8-1c48f72b858b" providerId="ADAL" clId="{A5873021-61E7-4636-ABC0-258C020C419A}" dt="2025-10-06T22:54:39.816" v="1000" actId="1076"/>
          <ac:spMkLst>
            <pc:docMk/>
            <pc:sldMk cId="4154770799" sldId="2147483473"/>
            <ac:spMk id="5" creationId="{E1B8D073-158A-9F4A-C537-21BF87CA3AD2}"/>
          </ac:spMkLst>
        </pc:spChg>
        <pc:spChg chg="add mod">
          <ac:chgData name="Steyn, Pieter (PG)" userId="6d2e891b-d7e9-463f-b6f8-1c48f72b858b" providerId="ADAL" clId="{A5873021-61E7-4636-ABC0-258C020C419A}" dt="2025-10-06T22:54:39.816" v="1000" actId="1076"/>
          <ac:spMkLst>
            <pc:docMk/>
            <pc:sldMk cId="4154770799" sldId="2147483473"/>
            <ac:spMk id="6" creationId="{6DA2FD8E-A557-F50B-1EED-194936E2273D}"/>
          </ac:spMkLst>
        </pc:spChg>
        <pc:spChg chg="add mod">
          <ac:chgData name="Steyn, Pieter (PG)" userId="6d2e891b-d7e9-463f-b6f8-1c48f72b858b" providerId="ADAL" clId="{A5873021-61E7-4636-ABC0-258C020C419A}" dt="2025-10-06T22:54:39.816" v="1000" actId="1076"/>
          <ac:spMkLst>
            <pc:docMk/>
            <pc:sldMk cId="4154770799" sldId="2147483473"/>
            <ac:spMk id="7" creationId="{C0963BF7-9D35-C279-0988-CBD04E00100B}"/>
          </ac:spMkLst>
        </pc:spChg>
        <pc:spChg chg="mod">
          <ac:chgData name="Steyn, Pieter (PG)" userId="6d2e891b-d7e9-463f-b6f8-1c48f72b858b" providerId="ADAL" clId="{A5873021-61E7-4636-ABC0-258C020C419A}" dt="2025-10-06T02:47:07.477" v="792" actId="1076"/>
          <ac:spMkLst>
            <pc:docMk/>
            <pc:sldMk cId="4154770799" sldId="2147483473"/>
            <ac:spMk id="16" creationId="{285F6EAA-A0B4-4742-80A4-C1E62D92A0AE}"/>
          </ac:spMkLst>
        </pc:spChg>
        <pc:spChg chg="mod">
          <ac:chgData name="Steyn, Pieter (PG)" userId="6d2e891b-d7e9-463f-b6f8-1c48f72b858b" providerId="ADAL" clId="{A5873021-61E7-4636-ABC0-258C020C419A}" dt="2025-10-06T22:54:14.453" v="994" actId="1076"/>
          <ac:spMkLst>
            <pc:docMk/>
            <pc:sldMk cId="4154770799" sldId="2147483473"/>
            <ac:spMk id="17" creationId="{D0149713-21F0-3641-CAD6-50900F9053BA}"/>
          </ac:spMkLst>
        </pc:spChg>
        <pc:picChg chg="add mod">
          <ac:chgData name="Steyn, Pieter (PG)" userId="6d2e891b-d7e9-463f-b6f8-1c48f72b858b" providerId="ADAL" clId="{A5873021-61E7-4636-ABC0-258C020C419A}" dt="2025-10-07T00:07:06.611" v="1041" actId="1076"/>
          <ac:picMkLst>
            <pc:docMk/>
            <pc:sldMk cId="4154770799" sldId="2147483473"/>
            <ac:picMk id="14" creationId="{0B5F4EA2-1035-B79C-BFE3-25A14A85BCFB}"/>
          </ac:picMkLst>
        </pc:picChg>
        <pc:picChg chg="add mod">
          <ac:chgData name="Steyn, Pieter (PG)" userId="6d2e891b-d7e9-463f-b6f8-1c48f72b858b" providerId="ADAL" clId="{A5873021-61E7-4636-ABC0-258C020C419A}" dt="2025-10-06T22:54:35.683" v="999" actId="1076"/>
          <ac:picMkLst>
            <pc:docMk/>
            <pc:sldMk cId="4154770799" sldId="2147483473"/>
            <ac:picMk id="19" creationId="{A17D1623-5DA7-F1BF-5774-C3D01EFDB6D3}"/>
          </ac:picMkLst>
        </pc:picChg>
      </pc:sldChg>
      <pc:sldChg chg="addSp delSp modSp add mod">
        <pc:chgData name="Steyn, Pieter (PG)" userId="6d2e891b-d7e9-463f-b6f8-1c48f72b858b" providerId="ADAL" clId="{A5873021-61E7-4636-ABC0-258C020C419A}" dt="2025-10-06T23:01:27.745" v="1032" actId="1076"/>
        <pc:sldMkLst>
          <pc:docMk/>
          <pc:sldMk cId="2972357674" sldId="2147483474"/>
        </pc:sldMkLst>
        <pc:spChg chg="add mod">
          <ac:chgData name="Steyn, Pieter (PG)" userId="6d2e891b-d7e9-463f-b6f8-1c48f72b858b" providerId="ADAL" clId="{A5873021-61E7-4636-ABC0-258C020C419A}" dt="2025-10-06T23:01:27.745" v="1032" actId="1076"/>
          <ac:spMkLst>
            <pc:docMk/>
            <pc:sldMk cId="2972357674" sldId="2147483474"/>
            <ac:spMk id="2" creationId="{DC140533-71FE-F40D-65C2-9E8AA192D57C}"/>
          </ac:spMkLst>
        </pc:spChg>
        <pc:spChg chg="mod">
          <ac:chgData name="Steyn, Pieter (PG)" userId="6d2e891b-d7e9-463f-b6f8-1c48f72b858b" providerId="ADAL" clId="{A5873021-61E7-4636-ABC0-258C020C419A}" dt="2025-10-06T03:03:27.067" v="838" actId="20577"/>
          <ac:spMkLst>
            <pc:docMk/>
            <pc:sldMk cId="2972357674" sldId="2147483474"/>
            <ac:spMk id="8" creationId="{3C9ED97D-B048-7712-E166-154E742B881F}"/>
          </ac:spMkLst>
        </pc:spChg>
        <pc:spChg chg="mod">
          <ac:chgData name="Steyn, Pieter (PG)" userId="6d2e891b-d7e9-463f-b6f8-1c48f72b858b" providerId="ADAL" clId="{A5873021-61E7-4636-ABC0-258C020C419A}" dt="2025-10-06T03:03:24.210" v="836" actId="1076"/>
          <ac:spMkLst>
            <pc:docMk/>
            <pc:sldMk cId="2972357674" sldId="2147483474"/>
            <ac:spMk id="10" creationId="{90B56E58-9300-7CFC-050D-E92D03F448C3}"/>
          </ac:spMkLst>
        </pc:spChg>
        <pc:spChg chg="mod">
          <ac:chgData name="Steyn, Pieter (PG)" userId="6d2e891b-d7e9-463f-b6f8-1c48f72b858b" providerId="ADAL" clId="{A5873021-61E7-4636-ABC0-258C020C419A}" dt="2025-10-06T03:03:30.093" v="840" actId="20577"/>
          <ac:spMkLst>
            <pc:docMk/>
            <pc:sldMk cId="2972357674" sldId="2147483474"/>
            <ac:spMk id="11" creationId="{324A9380-9DC4-39FE-103D-03F70DB51595}"/>
          </ac:spMkLst>
        </pc:spChg>
        <pc:spChg chg="mod">
          <ac:chgData name="Steyn, Pieter (PG)" userId="6d2e891b-d7e9-463f-b6f8-1c48f72b858b" providerId="ADAL" clId="{A5873021-61E7-4636-ABC0-258C020C419A}" dt="2025-10-04T04:38:38.358" v="631" actId="1076"/>
          <ac:spMkLst>
            <pc:docMk/>
            <pc:sldMk cId="2972357674" sldId="2147483474"/>
            <ac:spMk id="13" creationId="{F12252D2-52CC-9501-90F0-44EBB704FA17}"/>
          </ac:spMkLst>
        </pc:spChg>
        <pc:picChg chg="add mod">
          <ac:chgData name="Steyn, Pieter (PG)" userId="6d2e891b-d7e9-463f-b6f8-1c48f72b858b" providerId="ADAL" clId="{A5873021-61E7-4636-ABC0-258C020C419A}" dt="2025-10-06T03:35:45.987" v="842" actId="29295"/>
          <ac:picMkLst>
            <pc:docMk/>
            <pc:sldMk cId="2972357674" sldId="2147483474"/>
            <ac:picMk id="5" creationId="{21B148E1-E891-CDA9-06BF-D8F55A1DC768}"/>
          </ac:picMkLst>
        </pc:picChg>
      </pc:sldChg>
      <pc:sldChg chg="addSp delSp modSp add del mod">
        <pc:chgData name="Steyn, Pieter (PG)" userId="6d2e891b-d7e9-463f-b6f8-1c48f72b858b" providerId="ADAL" clId="{A5873021-61E7-4636-ABC0-258C020C419A}" dt="2025-10-06T22:56:19.101" v="1028" actId="47"/>
        <pc:sldMkLst>
          <pc:docMk/>
          <pc:sldMk cId="2954049116" sldId="2147483475"/>
        </pc:sldMkLst>
        <pc:spChg chg="del">
          <ac:chgData name="Steyn, Pieter (PG)" userId="6d2e891b-d7e9-463f-b6f8-1c48f72b858b" providerId="ADAL" clId="{A5873021-61E7-4636-ABC0-258C020C419A}" dt="2025-10-06T22:48:45.045" v="972" actId="478"/>
          <ac:spMkLst>
            <pc:docMk/>
            <pc:sldMk cId="2954049116" sldId="2147483475"/>
            <ac:spMk id="13" creationId="{4DC35DE0-9E92-F2B8-CBE6-04E2A4BFF784}"/>
          </ac:spMkLst>
        </pc:spChg>
        <pc:spChg chg="del">
          <ac:chgData name="Steyn, Pieter (PG)" userId="6d2e891b-d7e9-463f-b6f8-1c48f72b858b" providerId="ADAL" clId="{A5873021-61E7-4636-ABC0-258C020C419A}" dt="2025-10-06T22:48:45.045" v="972" actId="478"/>
          <ac:spMkLst>
            <pc:docMk/>
            <pc:sldMk cId="2954049116" sldId="2147483475"/>
            <ac:spMk id="14" creationId="{A904737E-6B6A-4361-1FDF-C46C01E03E3C}"/>
          </ac:spMkLst>
        </pc:spChg>
        <pc:spChg chg="del">
          <ac:chgData name="Steyn, Pieter (PG)" userId="6d2e891b-d7e9-463f-b6f8-1c48f72b858b" providerId="ADAL" clId="{A5873021-61E7-4636-ABC0-258C020C419A}" dt="2025-10-06T22:48:45.045" v="972" actId="478"/>
          <ac:spMkLst>
            <pc:docMk/>
            <pc:sldMk cId="2954049116" sldId="2147483475"/>
            <ac:spMk id="16" creationId="{91AE562E-1E8E-9EF0-139F-F5A0398225F2}"/>
          </ac:spMkLst>
        </pc:spChg>
        <pc:spChg chg="del">
          <ac:chgData name="Steyn, Pieter (PG)" userId="6d2e891b-d7e9-463f-b6f8-1c48f72b858b" providerId="ADAL" clId="{A5873021-61E7-4636-ABC0-258C020C419A}" dt="2025-10-06T22:48:45.045" v="972" actId="478"/>
          <ac:spMkLst>
            <pc:docMk/>
            <pc:sldMk cId="2954049116" sldId="2147483475"/>
            <ac:spMk id="17" creationId="{E3176DB5-75D5-00CC-1E60-61E414F9E2D8}"/>
          </ac:spMkLst>
        </pc:spChg>
        <pc:spChg chg="del mod">
          <ac:chgData name="Steyn, Pieter (PG)" userId="6d2e891b-d7e9-463f-b6f8-1c48f72b858b" providerId="ADAL" clId="{A5873021-61E7-4636-ABC0-258C020C419A}" dt="2025-10-06T22:48:47.062" v="974" actId="478"/>
          <ac:spMkLst>
            <pc:docMk/>
            <pc:sldMk cId="2954049116" sldId="2147483475"/>
            <ac:spMk id="18" creationId="{A380AFDD-7AA7-9900-8A81-9FDB3E840146}"/>
          </ac:spMkLst>
        </pc:spChg>
        <pc:grpChg chg="del">
          <ac:chgData name="Steyn, Pieter (PG)" userId="6d2e891b-d7e9-463f-b6f8-1c48f72b858b" providerId="ADAL" clId="{A5873021-61E7-4636-ABC0-258C020C419A}" dt="2025-10-06T22:48:45.045" v="972" actId="478"/>
          <ac:grpSpMkLst>
            <pc:docMk/>
            <pc:sldMk cId="2954049116" sldId="2147483475"/>
            <ac:grpSpMk id="2" creationId="{9A82F114-FAC3-68BA-E2E5-847F45CE41F4}"/>
          </ac:grpSpMkLst>
        </pc:grpChg>
        <pc:picChg chg="add del mod">
          <ac:chgData name="Steyn, Pieter (PG)" userId="6d2e891b-d7e9-463f-b6f8-1c48f72b858b" providerId="ADAL" clId="{A5873021-61E7-4636-ABC0-258C020C419A}" dt="2025-10-06T22:53:58.173" v="989" actId="21"/>
          <ac:picMkLst>
            <pc:docMk/>
            <pc:sldMk cId="2954049116" sldId="2147483475"/>
            <ac:picMk id="19" creationId="{A17D1623-5DA7-F1BF-5774-C3D01EFDB6D3}"/>
          </ac:picMkLst>
        </pc:picChg>
        <pc:picChg chg="del mod">
          <ac:chgData name="Steyn, Pieter (PG)" userId="6d2e891b-d7e9-463f-b6f8-1c48f72b858b" providerId="ADAL" clId="{A5873021-61E7-4636-ABC0-258C020C419A}" dt="2025-10-06T22:55:28.449" v="1013" actId="21"/>
          <ac:picMkLst>
            <pc:docMk/>
            <pc:sldMk cId="2954049116" sldId="2147483475"/>
            <ac:picMk id="20" creationId="{EA51C8B9-1CDE-FCCB-38BB-9B226F7D7CAF}"/>
          </ac:picMkLst>
        </pc:picChg>
        <pc:picChg chg="del">
          <ac:chgData name="Steyn, Pieter (PG)" userId="6d2e891b-d7e9-463f-b6f8-1c48f72b858b" providerId="ADAL" clId="{A5873021-61E7-4636-ABC0-258C020C419A}" dt="2025-10-06T22:48:48.169" v="975" actId="478"/>
          <ac:picMkLst>
            <pc:docMk/>
            <pc:sldMk cId="2954049116" sldId="2147483475"/>
            <ac:picMk id="1026" creationId="{BB8A0A6F-A29E-3710-0F2A-331EFB944A16}"/>
          </ac:picMkLst>
        </pc:picChg>
        <pc:cxnChg chg="del">
          <ac:chgData name="Steyn, Pieter (PG)" userId="6d2e891b-d7e9-463f-b6f8-1c48f72b858b" providerId="ADAL" clId="{A5873021-61E7-4636-ABC0-258C020C419A}" dt="2025-10-06T22:48:45.045" v="972" actId="478"/>
          <ac:cxnSpMkLst>
            <pc:docMk/>
            <pc:sldMk cId="2954049116" sldId="2147483475"/>
            <ac:cxnSpMk id="15" creationId="{1C11D926-4B39-F11A-BBE2-7AC9DD79B4C0}"/>
          </ac:cxnSpMkLst>
        </pc:cxnChg>
      </pc:sldChg>
      <pc:sldMasterChg chg="modSp mod delSldLayout">
        <pc:chgData name="Steyn, Pieter (PG)" userId="6d2e891b-d7e9-463f-b6f8-1c48f72b858b" providerId="ADAL" clId="{A5873021-61E7-4636-ABC0-258C020C419A}" dt="2025-10-04T05:39:18.511" v="657" actId="47"/>
        <pc:sldMasterMkLst>
          <pc:docMk/>
          <pc:sldMasterMk cId="977738762" sldId="2147483717"/>
        </pc:sldMasterMkLst>
        <pc:spChg chg="mod ord modVis">
          <ac:chgData name="Steyn, Pieter (PG)" userId="6d2e891b-d7e9-463f-b6f8-1c48f72b858b" providerId="ADAL" clId="{A5873021-61E7-4636-ABC0-258C020C419A}" dt="2025-10-04T03:27:18.336" v="615" actId="962"/>
          <ac:spMkLst>
            <pc:docMk/>
            <pc:sldMasterMk cId="977738762" sldId="2147483717"/>
            <ac:spMk id="7" creationId="{AFF2B7DF-F83A-33A4-0C8E-AE8076D015C3}"/>
          </ac:spMkLst>
        </pc:spChg>
        <pc:spChg chg="mod">
          <ac:chgData name="Steyn, Pieter (PG)" userId="6d2e891b-d7e9-463f-b6f8-1c48f72b858b" providerId="ADAL" clId="{A5873021-61E7-4636-ABC0-258C020C419A}" dt="2025-10-04T03:27:18.295" v="611" actId="20577"/>
          <ac:spMkLst>
            <pc:docMk/>
            <pc:sldMasterMk cId="977738762" sldId="2147483717"/>
            <ac:spMk id="11" creationId="{B4AA1E6B-04A2-314B-542F-B2BAC49530C3}"/>
          </ac:spMkLst>
        </pc:spChg>
        <pc:sldLayoutChg chg="del">
          <pc:chgData name="Steyn, Pieter (PG)" userId="6d2e891b-d7e9-463f-b6f8-1c48f72b858b" providerId="ADAL" clId="{A5873021-61E7-4636-ABC0-258C020C419A}" dt="2025-10-04T05:39:18.511" v="657" actId="47"/>
          <pc:sldLayoutMkLst>
            <pc:docMk/>
            <pc:sldMasterMk cId="977738762" sldId="2147483717"/>
            <pc:sldLayoutMk cId="4252245509" sldId="2147483766"/>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ABF884C0-E8B7-4CE7-BD94-B9748185FEAD}" type="datetimeFigureOut">
              <a:rPr lang="en-AU" smtClean="0"/>
              <a:t>7/10/2025</a:t>
            </a:fld>
            <a:endParaRPr lang="en-AU"/>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C95BB689-C308-400D-AEAD-71E213EF360C}" type="slidenum">
              <a:rPr lang="en-AU" smtClean="0"/>
              <a:t>‹#›</a:t>
            </a:fld>
            <a:endParaRPr lang="en-AU"/>
          </a:p>
        </p:txBody>
      </p:sp>
    </p:spTree>
    <p:extLst>
      <p:ext uri="{BB962C8B-B14F-4D97-AF65-F5344CB8AC3E}">
        <p14:creationId xmlns:p14="http://schemas.microsoft.com/office/powerpoint/2010/main" val="1061909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0667769-0B96-484A-A1B5-CC23FF0D892C}" type="slidenum">
              <a:rPr lang="en-AU" smtClean="0"/>
              <a:t>2</a:t>
            </a:fld>
            <a:endParaRPr lang="en-AU"/>
          </a:p>
        </p:txBody>
      </p:sp>
    </p:spTree>
    <p:extLst>
      <p:ext uri="{BB962C8B-B14F-4D97-AF65-F5344CB8AC3E}">
        <p14:creationId xmlns:p14="http://schemas.microsoft.com/office/powerpoint/2010/main" val="2852098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40416-5340-BDEC-7692-38F90B4C8E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44E2CA-5B6E-DBCC-F95F-98CE8161F8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4592A6-663A-8382-0DF8-50EEB2959B5C}"/>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78AB24E8-E194-40E5-7697-6EEDE0C8FE79}"/>
              </a:ext>
            </a:extLst>
          </p:cNvPr>
          <p:cNvSpPr>
            <a:spLocks noGrp="1"/>
          </p:cNvSpPr>
          <p:nvPr>
            <p:ph type="sldNum" sz="quarter" idx="5"/>
          </p:nvPr>
        </p:nvSpPr>
        <p:spPr/>
        <p:txBody>
          <a:bodyPr/>
          <a:lstStyle/>
          <a:p>
            <a:fld id="{20667769-0B96-484A-A1B5-CC23FF0D892C}" type="slidenum">
              <a:rPr lang="en-AU" smtClean="0"/>
              <a:t>3</a:t>
            </a:fld>
            <a:endParaRPr lang="en-AU"/>
          </a:p>
        </p:txBody>
      </p:sp>
    </p:spTree>
    <p:extLst>
      <p:ext uri="{BB962C8B-B14F-4D97-AF65-F5344CB8AC3E}">
        <p14:creationId xmlns:p14="http://schemas.microsoft.com/office/powerpoint/2010/main" val="173897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0D4A2-A5CA-4082-5442-0C1A197407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F5DB16-9763-ACEF-64F6-BCD0AEDD9A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D45FC8-BD39-2610-0EEE-2EEE9D303FE6}"/>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E0B709CE-5862-A2DF-B04A-E7CE22634546}"/>
              </a:ext>
            </a:extLst>
          </p:cNvPr>
          <p:cNvSpPr>
            <a:spLocks noGrp="1"/>
          </p:cNvSpPr>
          <p:nvPr>
            <p:ph type="sldNum" sz="quarter" idx="5"/>
          </p:nvPr>
        </p:nvSpPr>
        <p:spPr/>
        <p:txBody>
          <a:bodyPr/>
          <a:lstStyle/>
          <a:p>
            <a:fld id="{20667769-0B96-484A-A1B5-CC23FF0D892C}" type="slidenum">
              <a:rPr lang="en-AU" smtClean="0"/>
              <a:t>4</a:t>
            </a:fld>
            <a:endParaRPr lang="en-AU"/>
          </a:p>
        </p:txBody>
      </p:sp>
    </p:spTree>
    <p:extLst>
      <p:ext uri="{BB962C8B-B14F-4D97-AF65-F5344CB8AC3E}">
        <p14:creationId xmlns:p14="http://schemas.microsoft.com/office/powerpoint/2010/main" val="1628746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FF7A3-C09B-2B17-B13A-C6DE80F19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827AB6-C3AD-FB08-9C2D-4E971227BB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56E60F-6382-437B-ED8A-9DC92B246DBF}"/>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A7E39C71-6789-19A7-A124-2DF9477FD339}"/>
              </a:ext>
            </a:extLst>
          </p:cNvPr>
          <p:cNvSpPr>
            <a:spLocks noGrp="1"/>
          </p:cNvSpPr>
          <p:nvPr>
            <p:ph type="sldNum" sz="quarter" idx="5"/>
          </p:nvPr>
        </p:nvSpPr>
        <p:spPr/>
        <p:txBody>
          <a:bodyPr/>
          <a:lstStyle/>
          <a:p>
            <a:fld id="{20667769-0B96-484A-A1B5-CC23FF0D892C}" type="slidenum">
              <a:rPr lang="en-AU" smtClean="0"/>
              <a:t>5</a:t>
            </a:fld>
            <a:endParaRPr lang="en-AU"/>
          </a:p>
        </p:txBody>
      </p:sp>
    </p:spTree>
    <p:extLst>
      <p:ext uri="{BB962C8B-B14F-4D97-AF65-F5344CB8AC3E}">
        <p14:creationId xmlns:p14="http://schemas.microsoft.com/office/powerpoint/2010/main" val="1016742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31B00-1923-4FAA-9FB1-2FB0B6B76F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62DA5F-DAEA-9966-1A70-B8A5CFE1A6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923A9E-E5A8-AC0D-B6DE-4B9E14EDC2BC}"/>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05974866-9748-ABE9-3696-97B5459BBFF0}"/>
              </a:ext>
            </a:extLst>
          </p:cNvPr>
          <p:cNvSpPr>
            <a:spLocks noGrp="1"/>
          </p:cNvSpPr>
          <p:nvPr>
            <p:ph type="sldNum" sz="quarter" idx="5"/>
          </p:nvPr>
        </p:nvSpPr>
        <p:spPr/>
        <p:txBody>
          <a:bodyPr/>
          <a:lstStyle/>
          <a:p>
            <a:fld id="{20667769-0B96-484A-A1B5-CC23FF0D892C}" type="slidenum">
              <a:rPr lang="en-AU" smtClean="0"/>
              <a:t>6</a:t>
            </a:fld>
            <a:endParaRPr lang="en-AU"/>
          </a:p>
        </p:txBody>
      </p:sp>
    </p:spTree>
    <p:extLst>
      <p:ext uri="{BB962C8B-B14F-4D97-AF65-F5344CB8AC3E}">
        <p14:creationId xmlns:p14="http://schemas.microsoft.com/office/powerpoint/2010/main" val="111964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0ADF4-6BA6-5E30-F07B-AAD2A92052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3250E8-9F84-64C9-51E1-07EB3B9DF1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4F031-5673-132B-DBFF-8DF26A57967D}"/>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0F7C33F3-AF53-25B8-E52C-1E46B2B98A33}"/>
              </a:ext>
            </a:extLst>
          </p:cNvPr>
          <p:cNvSpPr>
            <a:spLocks noGrp="1"/>
          </p:cNvSpPr>
          <p:nvPr>
            <p:ph type="sldNum" sz="quarter" idx="5"/>
          </p:nvPr>
        </p:nvSpPr>
        <p:spPr/>
        <p:txBody>
          <a:bodyPr/>
          <a:lstStyle/>
          <a:p>
            <a:fld id="{20667769-0B96-484A-A1B5-CC23FF0D892C}" type="slidenum">
              <a:rPr lang="en-AU" smtClean="0"/>
              <a:t>7</a:t>
            </a:fld>
            <a:endParaRPr lang="en-AU"/>
          </a:p>
        </p:txBody>
      </p:sp>
    </p:spTree>
    <p:extLst>
      <p:ext uri="{BB962C8B-B14F-4D97-AF65-F5344CB8AC3E}">
        <p14:creationId xmlns:p14="http://schemas.microsoft.com/office/powerpoint/2010/main" val="3948738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CF0BD-C5D7-022B-48D6-855812ED7A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2C3197-7368-8526-42B2-3A877FCF14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898722-F18F-7EC5-E9EB-1B265BDE3FFA}"/>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79CECCA3-C0EC-29E4-873D-50B6C56F711E}"/>
              </a:ext>
            </a:extLst>
          </p:cNvPr>
          <p:cNvSpPr>
            <a:spLocks noGrp="1"/>
          </p:cNvSpPr>
          <p:nvPr>
            <p:ph type="sldNum" sz="quarter" idx="5"/>
          </p:nvPr>
        </p:nvSpPr>
        <p:spPr/>
        <p:txBody>
          <a:bodyPr/>
          <a:lstStyle/>
          <a:p>
            <a:fld id="{20667769-0B96-484A-A1B5-CC23FF0D892C}" type="slidenum">
              <a:rPr lang="en-AU" smtClean="0"/>
              <a:t>8</a:t>
            </a:fld>
            <a:endParaRPr lang="en-AU"/>
          </a:p>
        </p:txBody>
      </p:sp>
    </p:spTree>
    <p:extLst>
      <p:ext uri="{BB962C8B-B14F-4D97-AF65-F5344CB8AC3E}">
        <p14:creationId xmlns:p14="http://schemas.microsoft.com/office/powerpoint/2010/main" val="1078250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20667769-0B96-484A-A1B5-CC23FF0D892C}"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9</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0707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user/kpmgaustralia" TargetMode="External"/><Relationship Id="rId3" Type="http://schemas.openxmlformats.org/officeDocument/2006/relationships/image" Target="../media/image1.png"/><Relationship Id="rId7" Type="http://schemas.openxmlformats.org/officeDocument/2006/relationships/hyperlink" Target="https://www.facebook.com/KPMGAustralia/" TargetMode="External"/><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hyperlink" Target="https://www.linkedin.com/company/kpmg-australia" TargetMode="External"/><Relationship Id="rId11" Type="http://schemas.openxmlformats.org/officeDocument/2006/relationships/hyperlink" Target="https://home.kpmg/au/en/home.html" TargetMode="External"/><Relationship Id="rId5" Type="http://schemas.openxmlformats.org/officeDocument/2006/relationships/image" Target="../media/image16.png"/><Relationship Id="rId10" Type="http://schemas.openxmlformats.org/officeDocument/2006/relationships/hyperlink" Target="http://kpmg.com/socialmedia" TargetMode="External"/><Relationship Id="rId4" Type="http://schemas.openxmlformats.org/officeDocument/2006/relationships/image" Target="../media/image2.svg"/><Relationship Id="rId9" Type="http://schemas.openxmlformats.org/officeDocument/2006/relationships/hyperlink" Target="http://www.instagram.com/kpmgaustralia" TargetMode="Externa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png"/><Relationship Id="rId7" Type="http://schemas.openxmlformats.org/officeDocument/2006/relationships/image" Target="../media/image26.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1.svg"/><Relationship Id="rId9" Type="http://schemas.openxmlformats.org/officeDocument/2006/relationships/image" Target="../media/image28.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png"/><Relationship Id="rId7" Type="http://schemas.openxmlformats.org/officeDocument/2006/relationships/image" Target="../media/image26.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svg"/><Relationship Id="rId9" Type="http://schemas.openxmlformats.org/officeDocument/2006/relationships/image" Target="../media/image28.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7.emf"/></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204377944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_KPMG Blue text">
    <p:bg>
      <p:bgPr>
        <a:solidFill>
          <a:schemeClr val="accent1"/>
        </a:solidFill>
        <a:effectLst/>
      </p:bgPr>
    </p:bg>
    <p:spTree>
      <p:nvGrpSpPr>
        <p:cNvPr id="1" name=""/>
        <p:cNvGrpSpPr/>
        <p:nvPr/>
      </p:nvGrpSpPr>
      <p:grpSpPr>
        <a:xfrm>
          <a:off x="0" y="0"/>
          <a:ext cx="0" cy="0"/>
          <a:chOff x="0" y="0"/>
          <a:chExt cx="0" cy="0"/>
        </a:xfrm>
      </p:grpSpPr>
      <p:pic>
        <p:nvPicPr>
          <p:cNvPr id="3" name="Picture 2" descr="A close-up of a tall building&#10;&#10;Description automatically generated with medium confidence">
            <a:extLst>
              <a:ext uri="{FF2B5EF4-FFF2-40B4-BE49-F238E27FC236}">
                <a16:creationId xmlns:a16="http://schemas.microsoft.com/office/drawing/2014/main" id="{F0767648-7544-963B-F9D4-807BBD6546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123" r="14747"/>
          <a:stretch/>
        </p:blipFill>
        <p:spPr>
          <a:xfrm>
            <a:off x="-1" y="0"/>
            <a:ext cx="12192001" cy="6858000"/>
          </a:xfrm>
          <a:prstGeom prst="rect">
            <a:avLst/>
          </a:prstGeom>
        </p:spPr>
      </p:pic>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accent2"/>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5695430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PMG logo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D1EFA54-4C53-4610-1322-A4B0AE9FF6FF}"/>
              </a:ext>
            </a:extLst>
          </p:cNvPr>
          <p:cNvGrpSpPr/>
          <p:nvPr userDrawn="1"/>
        </p:nvGrpSpPr>
        <p:grpSpPr>
          <a:xfrm>
            <a:off x="1" y="1"/>
            <a:ext cx="12192000" cy="6857820"/>
            <a:chOff x="0" y="0"/>
            <a:chExt cx="13439775" cy="7559675"/>
          </a:xfrm>
        </p:grpSpPr>
        <p:pic>
          <p:nvPicPr>
            <p:cNvPr id="4" name="Picture 3">
              <a:extLst>
                <a:ext uri="{FF2B5EF4-FFF2-40B4-BE49-F238E27FC236}">
                  <a16:creationId xmlns:a16="http://schemas.microsoft.com/office/drawing/2014/main" id="{2C8CDCFA-5E7C-3624-B06B-6850B561E6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8" t="38161" r="29443" b="3297"/>
            <a:stretch/>
          </p:blipFill>
          <p:spPr>
            <a:xfrm>
              <a:off x="0" y="1"/>
              <a:ext cx="13439775" cy="7557793"/>
            </a:xfrm>
            <a:prstGeom prst="rect">
              <a:avLst/>
            </a:prstGeom>
          </p:spPr>
        </p:pic>
        <p:sp>
          <p:nvSpPr>
            <p:cNvPr id="5" name="Rectangle 4">
              <a:extLst>
                <a:ext uri="{FF2B5EF4-FFF2-40B4-BE49-F238E27FC236}">
                  <a16:creationId xmlns:a16="http://schemas.microsoft.com/office/drawing/2014/main" id="{461D101F-CC85-C839-A073-07984725BDBA}"/>
                </a:ext>
              </a:extLst>
            </p:cNvPr>
            <p:cNvSpPr/>
            <p:nvPr userDrawn="1"/>
          </p:nvSpPr>
          <p:spPr>
            <a:xfrm>
              <a:off x="0" y="0"/>
              <a:ext cx="13439775" cy="7559675"/>
            </a:xfrm>
            <a:prstGeom prst="rect">
              <a:avLst/>
            </a:prstGeom>
            <a:gradFill>
              <a:gsLst>
                <a:gs pos="100000">
                  <a:srgbClr val="7213EA">
                    <a:alpha val="61000"/>
                  </a:srgbClr>
                </a:gs>
                <a:gs pos="0">
                  <a:srgbClr val="B497FF">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6" name="Picture 5">
              <a:extLst>
                <a:ext uri="{FF2B5EF4-FFF2-40B4-BE49-F238E27FC236}">
                  <a16:creationId xmlns:a16="http://schemas.microsoft.com/office/drawing/2014/main" id="{E3798E82-4816-1A7F-5014-1333004CFBB0}"/>
                </a:ext>
              </a:extLst>
            </p:cNvPr>
            <p:cNvPicPr>
              <a:picLocks noChangeAspect="1"/>
            </p:cNvPicPr>
            <p:nvPr userDrawn="1"/>
          </p:nvPicPr>
          <p:blipFill rotWithShape="1">
            <a:blip r:embed="rId3"/>
            <a:srcRect l="36229" t="38609" r="9603" b="28759"/>
            <a:stretch/>
          </p:blipFill>
          <p:spPr>
            <a:xfrm>
              <a:off x="2463643" y="2074962"/>
              <a:ext cx="8508428" cy="3417166"/>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grpSp>
    </p:spTree>
    <p:extLst>
      <p:ext uri="{BB962C8B-B14F-4D97-AF65-F5344CB8AC3E}">
        <p14:creationId xmlns:p14="http://schemas.microsoft.com/office/powerpoint/2010/main" val="428879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PMG logo 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AC9AF6B-6DA8-279A-9E0B-70704692F44E}"/>
              </a:ext>
            </a:extLst>
          </p:cNvPr>
          <p:cNvGrpSpPr/>
          <p:nvPr userDrawn="1"/>
        </p:nvGrpSpPr>
        <p:grpSpPr>
          <a:xfrm>
            <a:off x="1" y="1"/>
            <a:ext cx="12192000" cy="6857820"/>
            <a:chOff x="0" y="0"/>
            <a:chExt cx="13439775" cy="7559675"/>
          </a:xfrm>
        </p:grpSpPr>
        <p:pic>
          <p:nvPicPr>
            <p:cNvPr id="3" name="Picture 2">
              <a:extLst>
                <a:ext uri="{FF2B5EF4-FFF2-40B4-BE49-F238E27FC236}">
                  <a16:creationId xmlns:a16="http://schemas.microsoft.com/office/drawing/2014/main" id="{2B369D5C-7845-AB90-D6D8-B1B53C7640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85" t="1" r="25611" b="44121"/>
            <a:stretch/>
          </p:blipFill>
          <p:spPr>
            <a:xfrm>
              <a:off x="0" y="0"/>
              <a:ext cx="13439775" cy="7559675"/>
            </a:xfrm>
            <a:prstGeom prst="rect">
              <a:avLst/>
            </a:prstGeom>
          </p:spPr>
        </p:pic>
        <p:pic>
          <p:nvPicPr>
            <p:cNvPr id="4" name="Picture 3">
              <a:extLst>
                <a:ext uri="{FF2B5EF4-FFF2-40B4-BE49-F238E27FC236}">
                  <a16:creationId xmlns:a16="http://schemas.microsoft.com/office/drawing/2014/main" id="{80C3EB35-FB77-E7A9-0024-B2A83F5AE881}"/>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l="9065" t="22610" r="9010" b="22550"/>
            <a:stretch>
              <a:fillRect/>
            </a:stretch>
          </p:blipFill>
          <p:spPr>
            <a:xfrm flipH="1">
              <a:off x="2467668" y="2075046"/>
              <a:ext cx="8498775" cy="3413288"/>
            </a:xfrm>
            <a:custGeom>
              <a:avLst/>
              <a:gdLst>
                <a:gd name="connsiteX0" fmla="*/ 1658073 w 7709732"/>
                <a:gd name="connsiteY0" fmla="*/ 2417428 h 3096473"/>
                <a:gd name="connsiteX1" fmla="*/ 1265829 w 7709732"/>
                <a:gd name="connsiteY1" fmla="*/ 2772767 h 3096473"/>
                <a:gd name="connsiteX2" fmla="*/ 998358 w 7709732"/>
                <a:gd name="connsiteY2" fmla="*/ 2745177 h 3096473"/>
                <a:gd name="connsiteX3" fmla="*/ 916992 w 7709732"/>
                <a:gd name="connsiteY3" fmla="*/ 2417428 h 3096473"/>
                <a:gd name="connsiteX4" fmla="*/ 2679980 w 7709732"/>
                <a:gd name="connsiteY4" fmla="*/ 1787589 h 3096473"/>
                <a:gd name="connsiteX5" fmla="*/ 3042876 w 7709732"/>
                <a:gd name="connsiteY5" fmla="*/ 2357327 h 3096473"/>
                <a:gd name="connsiteX6" fmla="*/ 2802996 w 7709732"/>
                <a:gd name="connsiteY6" fmla="*/ 2357327 h 3096473"/>
                <a:gd name="connsiteX7" fmla="*/ 3855657 w 7709732"/>
                <a:gd name="connsiteY7" fmla="*/ 1762811 h 3096473"/>
                <a:gd name="connsiteX8" fmla="*/ 4022958 w 7709732"/>
                <a:gd name="connsiteY8" fmla="*/ 2357327 h 3096473"/>
                <a:gd name="connsiteX9" fmla="*/ 3849682 w 7709732"/>
                <a:gd name="connsiteY9" fmla="*/ 2357327 h 3096473"/>
                <a:gd name="connsiteX10" fmla="*/ 5197931 w 7709732"/>
                <a:gd name="connsiteY10" fmla="*/ 1669671 h 3096473"/>
                <a:gd name="connsiteX11" fmla="*/ 5266820 w 7709732"/>
                <a:gd name="connsiteY11" fmla="*/ 1670725 h 3096473"/>
                <a:gd name="connsiteX12" fmla="*/ 5320420 w 7709732"/>
                <a:gd name="connsiteY12" fmla="*/ 1872822 h 3096473"/>
                <a:gd name="connsiteX13" fmla="*/ 5342562 w 7709732"/>
                <a:gd name="connsiteY13" fmla="*/ 1959460 h 3096473"/>
                <a:gd name="connsiteX14" fmla="*/ 5389484 w 7709732"/>
                <a:gd name="connsiteY14" fmla="*/ 2133439 h 3096473"/>
                <a:gd name="connsiteX15" fmla="*/ 5287908 w 7709732"/>
                <a:gd name="connsiteY15" fmla="*/ 2133439 h 3096473"/>
                <a:gd name="connsiteX16" fmla="*/ 5229388 w 7709732"/>
                <a:gd name="connsiteY16" fmla="*/ 2133439 h 3096473"/>
                <a:gd name="connsiteX17" fmla="*/ 5180709 w 7709732"/>
                <a:gd name="connsiteY17" fmla="*/ 2131154 h 3096473"/>
                <a:gd name="connsiteX18" fmla="*/ 5180182 w 7709732"/>
                <a:gd name="connsiteY18" fmla="*/ 2131154 h 3096473"/>
                <a:gd name="connsiteX19" fmla="*/ 4875806 w 7709732"/>
                <a:gd name="connsiteY19" fmla="*/ 1894613 h 3096473"/>
                <a:gd name="connsiteX20" fmla="*/ 4868601 w 7709732"/>
                <a:gd name="connsiteY20" fmla="*/ 1720634 h 3096473"/>
                <a:gd name="connsiteX21" fmla="*/ 5119201 w 7709732"/>
                <a:gd name="connsiteY21" fmla="*/ 1669671 h 3096473"/>
                <a:gd name="connsiteX22" fmla="*/ 3505941 w 7709732"/>
                <a:gd name="connsiteY22" fmla="*/ 60980 h 3096473"/>
                <a:gd name="connsiteX23" fmla="*/ 3505941 w 7709732"/>
                <a:gd name="connsiteY23" fmla="*/ 2358205 h 3096473"/>
                <a:gd name="connsiteX24" fmla="*/ 3462358 w 7709732"/>
                <a:gd name="connsiteY24" fmla="*/ 2358205 h 3096473"/>
                <a:gd name="connsiteX25" fmla="*/ 2860461 w 7709732"/>
                <a:gd name="connsiteY25" fmla="*/ 1409229 h 3096473"/>
                <a:gd name="connsiteX26" fmla="*/ 2187918 w 7709732"/>
                <a:gd name="connsiteY26" fmla="*/ 1409229 h 3096473"/>
                <a:gd name="connsiteX27" fmla="*/ 2386676 w 7709732"/>
                <a:gd name="connsiteY27" fmla="*/ 2357327 h 3096473"/>
                <a:gd name="connsiteX28" fmla="*/ 2152947 w 7709732"/>
                <a:gd name="connsiteY28" fmla="*/ 2357327 h 3096473"/>
                <a:gd name="connsiteX29" fmla="*/ 2127816 w 7709732"/>
                <a:gd name="connsiteY29" fmla="*/ 2217968 h 3096473"/>
                <a:gd name="connsiteX30" fmla="*/ 1915878 w 7709732"/>
                <a:gd name="connsiteY30" fmla="*/ 1762811 h 3096473"/>
                <a:gd name="connsiteX31" fmla="*/ 1914824 w 7709732"/>
                <a:gd name="connsiteY31" fmla="*/ 1433657 h 3096473"/>
                <a:gd name="connsiteX32" fmla="*/ 1915527 w 7709732"/>
                <a:gd name="connsiteY32" fmla="*/ 60980 h 3096473"/>
                <a:gd name="connsiteX33" fmla="*/ 5358027 w 7709732"/>
                <a:gd name="connsiteY33" fmla="*/ 60980 h 3096473"/>
                <a:gd name="connsiteX34" fmla="*/ 5358027 w 7709732"/>
                <a:gd name="connsiteY34" fmla="*/ 1406417 h 3096473"/>
                <a:gd name="connsiteX35" fmla="*/ 5041702 w 7709732"/>
                <a:gd name="connsiteY35" fmla="*/ 1406417 h 3096473"/>
                <a:gd name="connsiteX36" fmla="*/ 4528903 w 7709732"/>
                <a:gd name="connsiteY36" fmla="*/ 1523633 h 3096473"/>
                <a:gd name="connsiteX37" fmla="*/ 4475127 w 7709732"/>
                <a:gd name="connsiteY37" fmla="*/ 1900412 h 3096473"/>
                <a:gd name="connsiteX38" fmla="*/ 4861747 w 7709732"/>
                <a:gd name="connsiteY38" fmla="*/ 2357327 h 3096473"/>
                <a:gd name="connsiteX39" fmla="*/ 4439980 w 7709732"/>
                <a:gd name="connsiteY39" fmla="*/ 2357327 h 3096473"/>
                <a:gd name="connsiteX40" fmla="*/ 4167061 w 7709732"/>
                <a:gd name="connsiteY40" fmla="*/ 1406945 h 3096473"/>
                <a:gd name="connsiteX41" fmla="*/ 3769546 w 7709732"/>
                <a:gd name="connsiteY41" fmla="*/ 1406945 h 3096473"/>
                <a:gd name="connsiteX42" fmla="*/ 3769546 w 7709732"/>
                <a:gd name="connsiteY42" fmla="*/ 60980 h 3096473"/>
                <a:gd name="connsiteX43" fmla="*/ 7211695 w 7709732"/>
                <a:gd name="connsiteY43" fmla="*/ 60980 h 3096473"/>
                <a:gd name="connsiteX44" fmla="*/ 7211695 w 7709732"/>
                <a:gd name="connsiteY44" fmla="*/ 1409229 h 3096473"/>
                <a:gd name="connsiteX45" fmla="*/ 6829292 w 7709732"/>
                <a:gd name="connsiteY45" fmla="*/ 1409229 h 3096473"/>
                <a:gd name="connsiteX46" fmla="*/ 7033674 w 7709732"/>
                <a:gd name="connsiteY46" fmla="*/ 2088977 h 3096473"/>
                <a:gd name="connsiteX47" fmla="*/ 6402604 w 7709732"/>
                <a:gd name="connsiteY47" fmla="*/ 1410459 h 3096473"/>
                <a:gd name="connsiteX48" fmla="*/ 5884182 w 7709732"/>
                <a:gd name="connsiteY48" fmla="*/ 1410459 h 3096473"/>
                <a:gd name="connsiteX49" fmla="*/ 6691164 w 7709732"/>
                <a:gd name="connsiteY49" fmla="*/ 2235190 h 3096473"/>
                <a:gd name="connsiteX50" fmla="*/ 6632643 w 7709732"/>
                <a:gd name="connsiteY50" fmla="*/ 2358205 h 3096473"/>
                <a:gd name="connsiteX51" fmla="*/ 5884182 w 7709732"/>
                <a:gd name="connsiteY51" fmla="*/ 2358205 h 3096473"/>
                <a:gd name="connsiteX52" fmla="*/ 5875219 w 7709732"/>
                <a:gd name="connsiteY52" fmla="*/ 2331318 h 3096473"/>
                <a:gd name="connsiteX53" fmla="*/ 5647641 w 7709732"/>
                <a:gd name="connsiteY53" fmla="*/ 1573718 h 3096473"/>
                <a:gd name="connsiteX54" fmla="*/ 5622686 w 7709732"/>
                <a:gd name="connsiteY54" fmla="*/ 1491298 h 3096473"/>
                <a:gd name="connsiteX55" fmla="*/ 5622686 w 7709732"/>
                <a:gd name="connsiteY55" fmla="*/ 60980 h 3096473"/>
                <a:gd name="connsiteX56" fmla="*/ 1651219 w 7709732"/>
                <a:gd name="connsiteY56" fmla="*/ 60629 h 3096473"/>
                <a:gd name="connsiteX57" fmla="*/ 1651219 w 7709732"/>
                <a:gd name="connsiteY57" fmla="*/ 1501666 h 3096473"/>
                <a:gd name="connsiteX58" fmla="*/ 946516 w 7709732"/>
                <a:gd name="connsiteY58" fmla="*/ 1315562 h 3096473"/>
                <a:gd name="connsiteX59" fmla="*/ 373791 w 7709732"/>
                <a:gd name="connsiteY59" fmla="*/ 1512914 h 3096473"/>
                <a:gd name="connsiteX60" fmla="*/ 334250 w 7709732"/>
                <a:gd name="connsiteY60" fmla="*/ 1866671 h 3096473"/>
                <a:gd name="connsiteX61" fmla="*/ 811550 w 7709732"/>
                <a:gd name="connsiteY61" fmla="*/ 1866671 h 3096473"/>
                <a:gd name="connsiteX62" fmla="*/ 1050025 w 7709732"/>
                <a:gd name="connsiteY62" fmla="*/ 1640322 h 3096473"/>
                <a:gd name="connsiteX63" fmla="*/ 1632591 w 7709732"/>
                <a:gd name="connsiteY63" fmla="*/ 2208302 h 3096473"/>
                <a:gd name="connsiteX64" fmla="*/ 1651219 w 7709732"/>
                <a:gd name="connsiteY64" fmla="*/ 2302848 h 3096473"/>
                <a:gd name="connsiteX65" fmla="*/ 1651219 w 7709732"/>
                <a:gd name="connsiteY65" fmla="*/ 2357327 h 3096473"/>
                <a:gd name="connsiteX66" fmla="*/ 1263369 w 7709732"/>
                <a:gd name="connsiteY66" fmla="*/ 2357327 h 3096473"/>
                <a:gd name="connsiteX67" fmla="*/ 1197292 w 7709732"/>
                <a:gd name="connsiteY67" fmla="*/ 2092316 h 3096473"/>
                <a:gd name="connsiteX68" fmla="*/ 395407 w 7709732"/>
                <a:gd name="connsiteY68" fmla="*/ 2092316 h 3096473"/>
                <a:gd name="connsiteX69" fmla="*/ 460957 w 7709732"/>
                <a:gd name="connsiteY69" fmla="*/ 2357327 h 3096473"/>
                <a:gd name="connsiteX70" fmla="*/ 59750 w 7709732"/>
                <a:gd name="connsiteY70" fmla="*/ 2357327 h 3096473"/>
                <a:gd name="connsiteX71" fmla="*/ 60453 w 7709732"/>
                <a:gd name="connsiteY71" fmla="*/ 60629 h 3096473"/>
                <a:gd name="connsiteX72" fmla="*/ 7273027 w 7709732"/>
                <a:gd name="connsiteY72" fmla="*/ 0 h 3096473"/>
                <a:gd name="connsiteX73" fmla="*/ 5561003 w 7709732"/>
                <a:gd name="connsiteY73" fmla="*/ 0 h 3096473"/>
                <a:gd name="connsiteX74" fmla="*/ 5561003 w 7709732"/>
                <a:gd name="connsiteY74" fmla="*/ 1409229 h 3096473"/>
                <a:gd name="connsiteX75" fmla="*/ 5419359 w 7709732"/>
                <a:gd name="connsiteY75" fmla="*/ 1409229 h 3096473"/>
                <a:gd name="connsiteX76" fmla="*/ 5419359 w 7709732"/>
                <a:gd name="connsiteY76" fmla="*/ 0 h 3096473"/>
                <a:gd name="connsiteX77" fmla="*/ 3707511 w 7709732"/>
                <a:gd name="connsiteY77" fmla="*/ 0 h 3096473"/>
                <a:gd name="connsiteX78" fmla="*/ 3707511 w 7709732"/>
                <a:gd name="connsiteY78" fmla="*/ 1406945 h 3096473"/>
                <a:gd name="connsiteX79" fmla="*/ 3565692 w 7709732"/>
                <a:gd name="connsiteY79" fmla="*/ 1406945 h 3096473"/>
                <a:gd name="connsiteX80" fmla="*/ 3565692 w 7709732"/>
                <a:gd name="connsiteY80" fmla="*/ 0 h 3096473"/>
                <a:gd name="connsiteX81" fmla="*/ 1854370 w 7709732"/>
                <a:gd name="connsiteY81" fmla="*/ 0 h 3096473"/>
                <a:gd name="connsiteX82" fmla="*/ 1854370 w 7709732"/>
                <a:gd name="connsiteY82" fmla="*/ 1682499 h 3096473"/>
                <a:gd name="connsiteX83" fmla="*/ 1711497 w 7709732"/>
                <a:gd name="connsiteY83" fmla="*/ 1545073 h 3096473"/>
                <a:gd name="connsiteX84" fmla="*/ 1711497 w 7709732"/>
                <a:gd name="connsiteY84" fmla="*/ 0 h 3096473"/>
                <a:gd name="connsiteX85" fmla="*/ 0 w 7709732"/>
                <a:gd name="connsiteY85" fmla="*/ 0 h 3096473"/>
                <a:gd name="connsiteX86" fmla="*/ 0 w 7709732"/>
                <a:gd name="connsiteY86" fmla="*/ 2417428 h 3096473"/>
                <a:gd name="connsiteX87" fmla="*/ 475543 w 7709732"/>
                <a:gd name="connsiteY87" fmla="*/ 2417428 h 3096473"/>
                <a:gd name="connsiteX88" fmla="*/ 619822 w 7709732"/>
                <a:gd name="connsiteY88" fmla="*/ 3001400 h 3096473"/>
                <a:gd name="connsiteX89" fmla="*/ 1393941 w 7709732"/>
                <a:gd name="connsiteY89" fmla="*/ 3096473 h 3096473"/>
                <a:gd name="connsiteX90" fmla="*/ 1986876 w 7709732"/>
                <a:gd name="connsiteY90" fmla="*/ 2919683 h 3096473"/>
                <a:gd name="connsiteX91" fmla="*/ 2160503 w 7709732"/>
                <a:gd name="connsiteY91" fmla="*/ 2417428 h 3096473"/>
                <a:gd name="connsiteX92" fmla="*/ 2401438 w 7709732"/>
                <a:gd name="connsiteY92" fmla="*/ 2417428 h 3096473"/>
                <a:gd name="connsiteX93" fmla="*/ 2536755 w 7709732"/>
                <a:gd name="connsiteY93" fmla="*/ 3060623 h 3096473"/>
                <a:gd name="connsiteX94" fmla="*/ 2953426 w 7709732"/>
                <a:gd name="connsiteY94" fmla="*/ 3060623 h 3096473"/>
                <a:gd name="connsiteX95" fmla="*/ 2815824 w 7709732"/>
                <a:gd name="connsiteY95" fmla="*/ 2417428 h 3096473"/>
                <a:gd name="connsiteX96" fmla="*/ 3082592 w 7709732"/>
                <a:gd name="connsiteY96" fmla="*/ 2417428 h 3096473"/>
                <a:gd name="connsiteX97" fmla="*/ 3489949 w 7709732"/>
                <a:gd name="connsiteY97" fmla="*/ 3060623 h 3096473"/>
                <a:gd name="connsiteX98" fmla="*/ 3845113 w 7709732"/>
                <a:gd name="connsiteY98" fmla="*/ 3060623 h 3096473"/>
                <a:gd name="connsiteX99" fmla="*/ 3850209 w 7709732"/>
                <a:gd name="connsiteY99" fmla="*/ 2417428 h 3096473"/>
                <a:gd name="connsiteX100" fmla="*/ 4040707 w 7709732"/>
                <a:gd name="connsiteY100" fmla="*/ 2417428 h 3096473"/>
                <a:gd name="connsiteX101" fmla="*/ 4220134 w 7709732"/>
                <a:gd name="connsiteY101" fmla="*/ 3060623 h 3096473"/>
                <a:gd name="connsiteX102" fmla="*/ 4643483 w 7709732"/>
                <a:gd name="connsiteY102" fmla="*/ 3060623 h 3096473"/>
                <a:gd name="connsiteX103" fmla="*/ 4458081 w 7709732"/>
                <a:gd name="connsiteY103" fmla="*/ 2417428 h 3096473"/>
                <a:gd name="connsiteX104" fmla="*/ 5392647 w 7709732"/>
                <a:gd name="connsiteY104" fmla="*/ 2417428 h 3096473"/>
                <a:gd name="connsiteX105" fmla="*/ 5392647 w 7709732"/>
                <a:gd name="connsiteY105" fmla="*/ 2419186 h 3096473"/>
                <a:gd name="connsiteX106" fmla="*/ 5484909 w 7709732"/>
                <a:gd name="connsiteY106" fmla="*/ 2419186 h 3096473"/>
                <a:gd name="connsiteX107" fmla="*/ 5676813 w 7709732"/>
                <a:gd name="connsiteY107" fmla="*/ 3062381 h 3096473"/>
                <a:gd name="connsiteX108" fmla="*/ 6096647 w 7709732"/>
                <a:gd name="connsiteY108" fmla="*/ 3062381 h 3096473"/>
                <a:gd name="connsiteX109" fmla="*/ 5902107 w 7709732"/>
                <a:gd name="connsiteY109" fmla="*/ 2417428 h 3096473"/>
                <a:gd name="connsiteX110" fmla="*/ 6603471 w 7709732"/>
                <a:gd name="connsiteY110" fmla="*/ 2417428 h 3096473"/>
                <a:gd name="connsiteX111" fmla="*/ 6294175 w 7709732"/>
                <a:gd name="connsiteY111" fmla="*/ 3062381 h 3096473"/>
                <a:gd name="connsiteX112" fmla="*/ 6758119 w 7709732"/>
                <a:gd name="connsiteY112" fmla="*/ 3062381 h 3096473"/>
                <a:gd name="connsiteX113" fmla="*/ 7076729 w 7709732"/>
                <a:gd name="connsiteY113" fmla="*/ 2417428 h 3096473"/>
                <a:gd name="connsiteX114" fmla="*/ 7132262 w 7709732"/>
                <a:gd name="connsiteY114" fmla="*/ 2417428 h 3096473"/>
                <a:gd name="connsiteX115" fmla="*/ 7325572 w 7709732"/>
                <a:gd name="connsiteY115" fmla="*/ 3062381 h 3096473"/>
                <a:gd name="connsiteX116" fmla="*/ 7709732 w 7709732"/>
                <a:gd name="connsiteY116" fmla="*/ 3062381 h 3096473"/>
                <a:gd name="connsiteX117" fmla="*/ 7273027 w 7709732"/>
                <a:gd name="connsiteY117" fmla="*/ 1606054 h 309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09732" h="3096473">
                  <a:moveTo>
                    <a:pt x="1658073" y="2417428"/>
                  </a:moveTo>
                  <a:cubicBezTo>
                    <a:pt x="1654734" y="2666095"/>
                    <a:pt x="1495165" y="2772767"/>
                    <a:pt x="1265829" y="2772767"/>
                  </a:cubicBezTo>
                  <a:cubicBezTo>
                    <a:pt x="1176028" y="2771519"/>
                    <a:pt x="1086525" y="2762293"/>
                    <a:pt x="998358" y="2745177"/>
                  </a:cubicBezTo>
                  <a:lnTo>
                    <a:pt x="916992" y="2417428"/>
                  </a:lnTo>
                  <a:close/>
                  <a:moveTo>
                    <a:pt x="2679980" y="1787589"/>
                  </a:moveTo>
                  <a:lnTo>
                    <a:pt x="3042876" y="2357327"/>
                  </a:lnTo>
                  <a:lnTo>
                    <a:pt x="2802996" y="2357327"/>
                  </a:lnTo>
                  <a:close/>
                  <a:moveTo>
                    <a:pt x="3855657" y="1762811"/>
                  </a:moveTo>
                  <a:lnTo>
                    <a:pt x="4022958" y="2357327"/>
                  </a:lnTo>
                  <a:lnTo>
                    <a:pt x="3849682" y="2357327"/>
                  </a:lnTo>
                  <a:close/>
                  <a:moveTo>
                    <a:pt x="5197931" y="1669671"/>
                  </a:moveTo>
                  <a:cubicBezTo>
                    <a:pt x="5220074" y="1669671"/>
                    <a:pt x="5243096" y="1670725"/>
                    <a:pt x="5266820" y="1670725"/>
                  </a:cubicBezTo>
                  <a:lnTo>
                    <a:pt x="5320420" y="1872822"/>
                  </a:lnTo>
                  <a:lnTo>
                    <a:pt x="5342562" y="1959460"/>
                  </a:lnTo>
                  <a:lnTo>
                    <a:pt x="5389484" y="2133439"/>
                  </a:lnTo>
                  <a:lnTo>
                    <a:pt x="5287908" y="2133439"/>
                  </a:lnTo>
                  <a:cubicBezTo>
                    <a:pt x="5270686" y="2133439"/>
                    <a:pt x="5252761" y="2133439"/>
                    <a:pt x="5229388" y="2133439"/>
                  </a:cubicBezTo>
                  <a:cubicBezTo>
                    <a:pt x="5211639" y="2133439"/>
                    <a:pt x="5195998" y="2131154"/>
                    <a:pt x="5180709" y="2131154"/>
                  </a:cubicBezTo>
                  <a:lnTo>
                    <a:pt x="5180182" y="2131154"/>
                  </a:lnTo>
                  <a:cubicBezTo>
                    <a:pt x="4984587" y="2116216"/>
                    <a:pt x="4923958" y="2041528"/>
                    <a:pt x="4875806" y="1894613"/>
                  </a:cubicBezTo>
                  <a:cubicBezTo>
                    <a:pt x="4847864" y="1809381"/>
                    <a:pt x="4845053" y="1753145"/>
                    <a:pt x="4868601" y="1720634"/>
                  </a:cubicBezTo>
                  <a:cubicBezTo>
                    <a:pt x="4899531" y="1677403"/>
                    <a:pt x="4984587" y="1669671"/>
                    <a:pt x="5119201" y="1669671"/>
                  </a:cubicBezTo>
                  <a:close/>
                  <a:moveTo>
                    <a:pt x="3505941" y="60980"/>
                  </a:moveTo>
                  <a:lnTo>
                    <a:pt x="3505941" y="2358205"/>
                  </a:lnTo>
                  <a:lnTo>
                    <a:pt x="3462358" y="2358205"/>
                  </a:lnTo>
                  <a:lnTo>
                    <a:pt x="2860461" y="1409229"/>
                  </a:lnTo>
                  <a:lnTo>
                    <a:pt x="2187918" y="1409229"/>
                  </a:lnTo>
                  <a:lnTo>
                    <a:pt x="2386676" y="2357327"/>
                  </a:lnTo>
                  <a:lnTo>
                    <a:pt x="2152947" y="2357327"/>
                  </a:lnTo>
                  <a:cubicBezTo>
                    <a:pt x="2148184" y="2310300"/>
                    <a:pt x="2139784" y="2263694"/>
                    <a:pt x="2127816" y="2217968"/>
                  </a:cubicBezTo>
                  <a:cubicBezTo>
                    <a:pt x="2086799" y="2054146"/>
                    <a:pt x="2014853" y="1899656"/>
                    <a:pt x="1915878" y="1762811"/>
                  </a:cubicBezTo>
                  <a:lnTo>
                    <a:pt x="1914824" y="1433657"/>
                  </a:lnTo>
                  <a:lnTo>
                    <a:pt x="1915527" y="60980"/>
                  </a:lnTo>
                  <a:close/>
                  <a:moveTo>
                    <a:pt x="5358027" y="60980"/>
                  </a:moveTo>
                  <a:lnTo>
                    <a:pt x="5358027" y="1406417"/>
                  </a:lnTo>
                  <a:lnTo>
                    <a:pt x="5041702" y="1406417"/>
                  </a:lnTo>
                  <a:cubicBezTo>
                    <a:pt x="4851028" y="1406417"/>
                    <a:pt x="4636102" y="1395346"/>
                    <a:pt x="4528903" y="1523633"/>
                  </a:cubicBezTo>
                  <a:cubicBezTo>
                    <a:pt x="4457554" y="1609920"/>
                    <a:pt x="4441738" y="1724676"/>
                    <a:pt x="4475127" y="1900412"/>
                  </a:cubicBezTo>
                  <a:cubicBezTo>
                    <a:pt x="4516074" y="2125882"/>
                    <a:pt x="4646822" y="2277718"/>
                    <a:pt x="4861747" y="2357327"/>
                  </a:cubicBezTo>
                  <a:lnTo>
                    <a:pt x="4439980" y="2357327"/>
                  </a:lnTo>
                  <a:lnTo>
                    <a:pt x="4167061" y="1406945"/>
                  </a:lnTo>
                  <a:lnTo>
                    <a:pt x="3769546" y="1406945"/>
                  </a:lnTo>
                  <a:lnTo>
                    <a:pt x="3769546" y="60980"/>
                  </a:lnTo>
                  <a:close/>
                  <a:moveTo>
                    <a:pt x="7211695" y="60980"/>
                  </a:moveTo>
                  <a:lnTo>
                    <a:pt x="7211695" y="1409229"/>
                  </a:lnTo>
                  <a:lnTo>
                    <a:pt x="6829292" y="1409229"/>
                  </a:lnTo>
                  <a:lnTo>
                    <a:pt x="7033674" y="2088977"/>
                  </a:lnTo>
                  <a:lnTo>
                    <a:pt x="6402604" y="1410459"/>
                  </a:lnTo>
                  <a:lnTo>
                    <a:pt x="5884182" y="1410459"/>
                  </a:lnTo>
                  <a:lnTo>
                    <a:pt x="6691164" y="2235190"/>
                  </a:lnTo>
                  <a:lnTo>
                    <a:pt x="6632643" y="2358205"/>
                  </a:lnTo>
                  <a:lnTo>
                    <a:pt x="5884182" y="2358205"/>
                  </a:lnTo>
                  <a:lnTo>
                    <a:pt x="5875219" y="2331318"/>
                  </a:lnTo>
                  <a:lnTo>
                    <a:pt x="5647641" y="1573718"/>
                  </a:lnTo>
                  <a:lnTo>
                    <a:pt x="5622686" y="1491298"/>
                  </a:lnTo>
                  <a:lnTo>
                    <a:pt x="5622686" y="60980"/>
                  </a:lnTo>
                  <a:close/>
                  <a:moveTo>
                    <a:pt x="1651219" y="60629"/>
                  </a:moveTo>
                  <a:lnTo>
                    <a:pt x="1651219" y="1501666"/>
                  </a:lnTo>
                  <a:cubicBezTo>
                    <a:pt x="1412217" y="1345788"/>
                    <a:pt x="1135608" y="1315562"/>
                    <a:pt x="946516" y="1315562"/>
                  </a:cubicBezTo>
                  <a:cubicBezTo>
                    <a:pt x="680451" y="1315562"/>
                    <a:pt x="475543" y="1372324"/>
                    <a:pt x="373791" y="1512914"/>
                  </a:cubicBezTo>
                  <a:cubicBezTo>
                    <a:pt x="283814" y="1642783"/>
                    <a:pt x="315271" y="1783899"/>
                    <a:pt x="334250" y="1866671"/>
                  </a:cubicBezTo>
                  <a:lnTo>
                    <a:pt x="811550" y="1866671"/>
                  </a:lnTo>
                  <a:cubicBezTo>
                    <a:pt x="794153" y="1689177"/>
                    <a:pt x="921738" y="1640322"/>
                    <a:pt x="1050025" y="1640322"/>
                  </a:cubicBezTo>
                  <a:cubicBezTo>
                    <a:pt x="1374259" y="1640322"/>
                    <a:pt x="1562296" y="1922555"/>
                    <a:pt x="1632591" y="2208302"/>
                  </a:cubicBezTo>
                  <a:cubicBezTo>
                    <a:pt x="1640148" y="2241692"/>
                    <a:pt x="1645244" y="2272973"/>
                    <a:pt x="1651219" y="2302848"/>
                  </a:cubicBezTo>
                  <a:lnTo>
                    <a:pt x="1651219" y="2357327"/>
                  </a:lnTo>
                  <a:lnTo>
                    <a:pt x="1263369" y="2357327"/>
                  </a:lnTo>
                  <a:lnTo>
                    <a:pt x="1197292" y="2092316"/>
                  </a:lnTo>
                  <a:lnTo>
                    <a:pt x="395407" y="2092316"/>
                  </a:lnTo>
                  <a:lnTo>
                    <a:pt x="460957" y="2357327"/>
                  </a:lnTo>
                  <a:lnTo>
                    <a:pt x="59750" y="2357327"/>
                  </a:lnTo>
                  <a:lnTo>
                    <a:pt x="60453" y="60629"/>
                  </a:lnTo>
                  <a:close/>
                  <a:moveTo>
                    <a:pt x="7273027" y="0"/>
                  </a:moveTo>
                  <a:lnTo>
                    <a:pt x="5561003" y="0"/>
                  </a:lnTo>
                  <a:lnTo>
                    <a:pt x="5561003" y="1409229"/>
                  </a:lnTo>
                  <a:lnTo>
                    <a:pt x="5419359" y="1409229"/>
                  </a:lnTo>
                  <a:lnTo>
                    <a:pt x="5419359" y="0"/>
                  </a:lnTo>
                  <a:lnTo>
                    <a:pt x="3707511" y="0"/>
                  </a:lnTo>
                  <a:lnTo>
                    <a:pt x="3707511" y="1406945"/>
                  </a:lnTo>
                  <a:lnTo>
                    <a:pt x="3565692" y="1406945"/>
                  </a:lnTo>
                  <a:lnTo>
                    <a:pt x="3565692" y="0"/>
                  </a:lnTo>
                  <a:lnTo>
                    <a:pt x="1854370" y="0"/>
                  </a:lnTo>
                  <a:lnTo>
                    <a:pt x="1854370" y="1682499"/>
                  </a:lnTo>
                  <a:cubicBezTo>
                    <a:pt x="1811087" y="1632379"/>
                    <a:pt x="1763269" y="1586371"/>
                    <a:pt x="1711497" y="1545073"/>
                  </a:cubicBezTo>
                  <a:lnTo>
                    <a:pt x="1711497" y="0"/>
                  </a:lnTo>
                  <a:lnTo>
                    <a:pt x="0" y="0"/>
                  </a:lnTo>
                  <a:lnTo>
                    <a:pt x="0" y="2417428"/>
                  </a:lnTo>
                  <a:lnTo>
                    <a:pt x="475543" y="2417428"/>
                  </a:lnTo>
                  <a:lnTo>
                    <a:pt x="619822" y="3001400"/>
                  </a:lnTo>
                  <a:cubicBezTo>
                    <a:pt x="873568" y="3061502"/>
                    <a:pt x="1133183" y="3093398"/>
                    <a:pt x="1393941" y="3096473"/>
                  </a:cubicBezTo>
                  <a:cubicBezTo>
                    <a:pt x="1577585" y="3096473"/>
                    <a:pt x="1825198" y="3068004"/>
                    <a:pt x="1986876" y="2919683"/>
                  </a:cubicBezTo>
                  <a:cubicBezTo>
                    <a:pt x="2119029" y="2797898"/>
                    <a:pt x="2169993" y="2616714"/>
                    <a:pt x="2160503" y="2417428"/>
                  </a:cubicBezTo>
                  <a:lnTo>
                    <a:pt x="2401438" y="2417428"/>
                  </a:lnTo>
                  <a:lnTo>
                    <a:pt x="2536755" y="3060623"/>
                  </a:lnTo>
                  <a:lnTo>
                    <a:pt x="2953426" y="3060623"/>
                  </a:lnTo>
                  <a:lnTo>
                    <a:pt x="2815824" y="2417428"/>
                  </a:lnTo>
                  <a:lnTo>
                    <a:pt x="3082592" y="2417428"/>
                  </a:lnTo>
                  <a:lnTo>
                    <a:pt x="3489949" y="3060623"/>
                  </a:lnTo>
                  <a:lnTo>
                    <a:pt x="3845113" y="3060623"/>
                  </a:lnTo>
                  <a:lnTo>
                    <a:pt x="3850209" y="2417428"/>
                  </a:lnTo>
                  <a:lnTo>
                    <a:pt x="4040707" y="2417428"/>
                  </a:lnTo>
                  <a:lnTo>
                    <a:pt x="4220134" y="3060623"/>
                  </a:lnTo>
                  <a:lnTo>
                    <a:pt x="4643483" y="3060623"/>
                  </a:lnTo>
                  <a:lnTo>
                    <a:pt x="4458081" y="2417428"/>
                  </a:lnTo>
                  <a:lnTo>
                    <a:pt x="5392647" y="2417428"/>
                  </a:lnTo>
                  <a:lnTo>
                    <a:pt x="5392647" y="2419186"/>
                  </a:lnTo>
                  <a:lnTo>
                    <a:pt x="5484909" y="2419186"/>
                  </a:lnTo>
                  <a:lnTo>
                    <a:pt x="5676813" y="3062381"/>
                  </a:lnTo>
                  <a:lnTo>
                    <a:pt x="6096647" y="3062381"/>
                  </a:lnTo>
                  <a:lnTo>
                    <a:pt x="5902107" y="2417428"/>
                  </a:lnTo>
                  <a:lnTo>
                    <a:pt x="6603471" y="2417428"/>
                  </a:lnTo>
                  <a:lnTo>
                    <a:pt x="6294175" y="3062381"/>
                  </a:lnTo>
                  <a:lnTo>
                    <a:pt x="6758119" y="3062381"/>
                  </a:lnTo>
                  <a:lnTo>
                    <a:pt x="7076729" y="2417428"/>
                  </a:lnTo>
                  <a:lnTo>
                    <a:pt x="7132262" y="2417428"/>
                  </a:lnTo>
                  <a:lnTo>
                    <a:pt x="7325572" y="3062381"/>
                  </a:lnTo>
                  <a:lnTo>
                    <a:pt x="7709732" y="3062381"/>
                  </a:lnTo>
                  <a:lnTo>
                    <a:pt x="7273027" y="1606054"/>
                  </a:lnTo>
                  <a:close/>
                </a:path>
              </a:pathLst>
            </a:custGeom>
          </p:spPr>
        </p:pic>
      </p:grpSp>
    </p:spTree>
    <p:extLst>
      <p:ext uri="{BB962C8B-B14F-4D97-AF65-F5344CB8AC3E}">
        <p14:creationId xmlns:p14="http://schemas.microsoft.com/office/powerpoint/2010/main" val="8699808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PMG logo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2DF4864-1E71-9D39-62FB-3D71357449C1}"/>
              </a:ext>
            </a:extLst>
          </p:cNvPr>
          <p:cNvGrpSpPr/>
          <p:nvPr userDrawn="1"/>
        </p:nvGrpSpPr>
        <p:grpSpPr>
          <a:xfrm>
            <a:off x="1" y="0"/>
            <a:ext cx="12191999" cy="6857819"/>
            <a:chOff x="1" y="0"/>
            <a:chExt cx="13439775" cy="7559675"/>
          </a:xfrm>
        </p:grpSpPr>
        <p:pic>
          <p:nvPicPr>
            <p:cNvPr id="3" name="Picture 2">
              <a:extLst>
                <a:ext uri="{FF2B5EF4-FFF2-40B4-BE49-F238E27FC236}">
                  <a16:creationId xmlns:a16="http://schemas.microsoft.com/office/drawing/2014/main" id="{2886DA0D-0956-03A3-EBDF-278C9E1816CF}"/>
                </a:ext>
              </a:extLst>
            </p:cNvPr>
            <p:cNvPicPr>
              <a:picLocks noChangeAspect="1"/>
            </p:cNvPicPr>
            <p:nvPr userDrawn="1"/>
          </p:nvPicPr>
          <p:blipFill rotWithShape="1">
            <a:blip r:embed="rId2"/>
            <a:srcRect t="34232" r="45531" b="3101"/>
            <a:stretch/>
          </p:blipFill>
          <p:spPr>
            <a:xfrm>
              <a:off x="1" y="0"/>
              <a:ext cx="13439775" cy="7559675"/>
            </a:xfrm>
            <a:prstGeom prst="rect">
              <a:avLst/>
            </a:prstGeom>
          </p:spPr>
        </p:pic>
        <p:pic>
          <p:nvPicPr>
            <p:cNvPr id="4" name="Picture 3">
              <a:extLst>
                <a:ext uri="{FF2B5EF4-FFF2-40B4-BE49-F238E27FC236}">
                  <a16:creationId xmlns:a16="http://schemas.microsoft.com/office/drawing/2014/main" id="{DA9C859F-7DE9-7CAF-A7E9-E606B0C9FDEC}"/>
                </a:ext>
              </a:extLst>
            </p:cNvPr>
            <p:cNvPicPr>
              <a:picLocks noChangeAspect="1"/>
            </p:cNvPicPr>
            <p:nvPr userDrawn="1"/>
          </p:nvPicPr>
          <p:blipFill rotWithShape="1">
            <a:blip r:embed="rId3"/>
            <a:srcRect l="26828" t="41914" r="17655" b="24642"/>
            <a:stretch/>
          </p:blipFill>
          <p:spPr>
            <a:xfrm>
              <a:off x="2463643" y="2074962"/>
              <a:ext cx="8508428" cy="3417166"/>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grpSp>
    </p:spTree>
    <p:extLst>
      <p:ext uri="{BB962C8B-B14F-4D97-AF65-F5344CB8AC3E}">
        <p14:creationId xmlns:p14="http://schemas.microsoft.com/office/powerpoint/2010/main" val="691170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PMG logo 4">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EEF1F60-2821-FACF-A709-ECDF5A411281}"/>
              </a:ext>
            </a:extLst>
          </p:cNvPr>
          <p:cNvGrpSpPr/>
          <p:nvPr userDrawn="1"/>
        </p:nvGrpSpPr>
        <p:grpSpPr>
          <a:xfrm>
            <a:off x="1" y="-1"/>
            <a:ext cx="12192320" cy="6858001"/>
            <a:chOff x="0" y="-1"/>
            <a:chExt cx="13439775" cy="7559676"/>
          </a:xfrm>
        </p:grpSpPr>
        <p:pic>
          <p:nvPicPr>
            <p:cNvPr id="3" name="Picture 2">
              <a:extLst>
                <a:ext uri="{FF2B5EF4-FFF2-40B4-BE49-F238E27FC236}">
                  <a16:creationId xmlns:a16="http://schemas.microsoft.com/office/drawing/2014/main" id="{9D7DA2B7-181C-410E-4508-3415EBEA3DFF}"/>
                </a:ext>
              </a:extLst>
            </p:cNvPr>
            <p:cNvPicPr>
              <a:picLocks noChangeAspect="1"/>
            </p:cNvPicPr>
            <p:nvPr userDrawn="1"/>
          </p:nvPicPr>
          <p:blipFill rotWithShape="1">
            <a:blip r:embed="rId2"/>
            <a:srcRect t="1946" b="1946"/>
            <a:stretch/>
          </p:blipFill>
          <p:spPr>
            <a:xfrm>
              <a:off x="0" y="-1"/>
              <a:ext cx="13439775" cy="7559676"/>
            </a:xfrm>
            <a:prstGeom prst="rect">
              <a:avLst/>
            </a:prstGeom>
          </p:spPr>
        </p:pic>
        <p:sp>
          <p:nvSpPr>
            <p:cNvPr id="4" name="Rectangle 3">
              <a:extLst>
                <a:ext uri="{FF2B5EF4-FFF2-40B4-BE49-F238E27FC236}">
                  <a16:creationId xmlns:a16="http://schemas.microsoft.com/office/drawing/2014/main" id="{2D7CDA95-1D6E-35D2-8DE4-198F698D9D81}"/>
                </a:ext>
              </a:extLst>
            </p:cNvPr>
            <p:cNvSpPr/>
            <p:nvPr userDrawn="1"/>
          </p:nvSpPr>
          <p:spPr>
            <a:xfrm>
              <a:off x="1" y="-1"/>
              <a:ext cx="7013870" cy="7559676"/>
            </a:xfrm>
            <a:prstGeom prst="rect">
              <a:avLst/>
            </a:prstGeom>
            <a:gradFill>
              <a:gsLst>
                <a:gs pos="0">
                  <a:srgbClr val="7213EA">
                    <a:alpha val="43000"/>
                  </a:srgbClr>
                </a:gs>
                <a:gs pos="100000">
                  <a:srgbClr val="1F4AE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5" name="Graphic 6">
              <a:extLst>
                <a:ext uri="{FF2B5EF4-FFF2-40B4-BE49-F238E27FC236}">
                  <a16:creationId xmlns:a16="http://schemas.microsoft.com/office/drawing/2014/main" id="{56358AC9-E41D-0584-5397-30E562498665}"/>
                </a:ext>
              </a:extLst>
            </p:cNvPr>
            <p:cNvSpPr/>
            <p:nvPr userDrawn="1"/>
          </p:nvSpPr>
          <p:spPr>
            <a:xfrm>
              <a:off x="2463664" y="2075045"/>
              <a:ext cx="8508427" cy="3417166"/>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FCEAE7"/>
            </a:solidFill>
            <a:ln w="17575" cap="flat">
              <a:noFill/>
              <a:prstDash val="solid"/>
              <a:miter/>
            </a:ln>
          </p:spPr>
          <p:txBody>
            <a:bodyPr rtlCol="0" anchor="ctr"/>
            <a:lstStyle/>
            <a:p>
              <a:endParaRPr lang="en-GB" sz="1984"/>
            </a:p>
          </p:txBody>
        </p:sp>
      </p:grpSp>
    </p:spTree>
    <p:extLst>
      <p:ext uri="{BB962C8B-B14F-4D97-AF65-F5344CB8AC3E}">
        <p14:creationId xmlns:p14="http://schemas.microsoft.com/office/powerpoint/2010/main" val="19429646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PMG logo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A68BCF-F2DC-2CE0-68BE-838D6C783D19}"/>
              </a:ext>
            </a:extLst>
          </p:cNvPr>
          <p:cNvSpPr>
            <a:spLocks noChangeAspect="1"/>
          </p:cNvSpPr>
          <p:nvPr userDrawn="1"/>
        </p:nvSpPr>
        <p:spPr>
          <a:xfrm>
            <a:off x="0" y="0"/>
            <a:ext cx="12192000" cy="685800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Graphic 6">
            <a:extLst>
              <a:ext uri="{FF2B5EF4-FFF2-40B4-BE49-F238E27FC236}">
                <a16:creationId xmlns:a16="http://schemas.microsoft.com/office/drawing/2014/main" id="{AF34A1F6-4CF6-5EAC-AA97-4BDB768FF3F2}"/>
              </a:ext>
            </a:extLst>
          </p:cNvPr>
          <p:cNvSpPr/>
          <p:nvPr userDrawn="1"/>
        </p:nvSpPr>
        <p:spPr>
          <a:xfrm>
            <a:off x="5327933" y="3135822"/>
            <a:ext cx="1459935" cy="586356"/>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bg1"/>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1423194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PMG logo 6">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A8075A-C386-4BAB-557C-E7E67DE66D6D}"/>
              </a:ext>
            </a:extLst>
          </p:cNvPr>
          <p:cNvSpPr>
            <a:spLocks noChangeAspect="1"/>
          </p:cNvSpPr>
          <p:nvPr userDrawn="1"/>
        </p:nvSpPr>
        <p:spPr>
          <a:xfrm>
            <a:off x="0" y="0"/>
            <a:ext cx="12192000" cy="6858000"/>
          </a:xfrm>
          <a:prstGeom prst="rect">
            <a:avLst/>
          </a:prstGeom>
          <a:gradFill flip="none" rotWithShape="1">
            <a:gsLst>
              <a:gs pos="100000">
                <a:srgbClr val="ACEAFF"/>
              </a:gs>
              <a:gs pos="0">
                <a:schemeClr val="accent4"/>
              </a:gs>
            </a:gsLst>
            <a:lin ang="2700000" scaled="1"/>
            <a:tileRect/>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5" name="Graphic 6">
            <a:extLst>
              <a:ext uri="{FF2B5EF4-FFF2-40B4-BE49-F238E27FC236}">
                <a16:creationId xmlns:a16="http://schemas.microsoft.com/office/drawing/2014/main" id="{7DC14AD5-EF09-DD7C-6DAD-B3990704AB3A}"/>
              </a:ext>
            </a:extLst>
          </p:cNvPr>
          <p:cNvSpPr/>
          <p:nvPr userDrawn="1"/>
        </p:nvSpPr>
        <p:spPr>
          <a:xfrm>
            <a:off x="5327933" y="3135822"/>
            <a:ext cx="1459935" cy="586356"/>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accent2"/>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237514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3742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23605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Graphic 8">
            <a:extLst>
              <a:ext uri="{FF2B5EF4-FFF2-40B4-BE49-F238E27FC236}">
                <a16:creationId xmlns:a16="http://schemas.microsoft.com/office/drawing/2014/main" id="{529A0DC6-2A2C-BB14-CEFE-9ED6CB16540B}"/>
              </a:ext>
            </a:extLst>
          </p:cNvPr>
          <p:cNvSpPr/>
          <p:nvPr userDrawn="1"/>
        </p:nvSpPr>
        <p:spPr>
          <a:xfrm>
            <a:off x="1003200" y="6204504"/>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solidFill>
                <a:schemeClr val="bg1"/>
              </a:solidFill>
            </a:endParaRPr>
          </a:p>
        </p:txBody>
      </p:sp>
      <p:sp>
        <p:nvSpPr>
          <p:cNvPr id="6" name="Shape 8">
            <a:extLst>
              <a:ext uri="{FF2B5EF4-FFF2-40B4-BE49-F238E27FC236}">
                <a16:creationId xmlns:a16="http://schemas.microsoft.com/office/drawing/2014/main" id="{9157870F-8A8C-F0D8-F724-34647BCBE18A}"/>
              </a:ext>
            </a:extLst>
          </p:cNvPr>
          <p:cNvSpPr txBox="1">
            <a:spLocks/>
          </p:cNvSpPr>
          <p:nvPr userDrawn="1"/>
        </p:nvSpPr>
        <p:spPr>
          <a:xfrm>
            <a:off x="10952564" y="6204504"/>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58454271-757F-DCA8-708A-DE001A08F5A3}"/>
              </a:ext>
              <a:ext uri="{C183D7F6-B498-43B3-948B-1728B52AA6E4}">
                <adec:decorative xmlns:adec="http://schemas.microsoft.com/office/drawing/2017/decorative" val="1"/>
              </a:ext>
            </a:extLst>
          </p:cNvPr>
          <p:cNvSpPr txBox="1"/>
          <p:nvPr userDrawn="1"/>
        </p:nvSpPr>
        <p:spPr>
          <a:xfrm>
            <a:off x="1712209" y="6204504"/>
            <a:ext cx="7960218" cy="184665"/>
          </a:xfrm>
          <a:prstGeom prst="rect">
            <a:avLst/>
          </a:prstGeom>
          <a:noFill/>
        </p:spPr>
        <p:txBody>
          <a:bodyPr wrap="square" lIns="0" tIns="0" rIns="0" bIns="0" rtlCol="0">
            <a:spAutoFit/>
          </a:bodyPr>
          <a:lstStyle/>
          <a:p>
            <a:pPr algn="l" eaLnBrk="1" hangingPunct="1"/>
            <a:r>
              <a:rPr lang="en-AU" altLang="en-US" sz="600" dirty="0">
                <a:solidFill>
                  <a:schemeClr val="bg1"/>
                </a:solidFill>
                <a:latin typeface="Arial" panose="020B0604020202020204" pitchFamily="34" charset="0"/>
              </a:rPr>
              <a:t>©2025 KPMG, an Australian partnership and a member firm of the KPMG global organisation of independent member firms affiliated with KPMG International Limited, a private English company limited by guarantee. All rights reserved. The KPMG name and logo are trademarks used under license by the independent member firms of the KPMG global organisation. </a:t>
            </a:r>
            <a:endParaRPr lang="en-AU" altLang="en-US" sz="600" b="1" dirty="0">
              <a:solidFill>
                <a:schemeClr val="bg1"/>
              </a:solidFill>
              <a:latin typeface="Arial" panose="020B0604020202020204" pitchFamily="34" charset="0"/>
            </a:endParaRPr>
          </a:p>
        </p:txBody>
      </p:sp>
      <p:cxnSp>
        <p:nvCxnSpPr>
          <p:cNvPr id="11" name="Straight Connector 10">
            <a:extLst>
              <a:ext uri="{FF2B5EF4-FFF2-40B4-BE49-F238E27FC236}">
                <a16:creationId xmlns:a16="http://schemas.microsoft.com/office/drawing/2014/main" id="{B030D679-3C37-D43A-A700-392E2188516B}"/>
              </a:ext>
            </a:extLst>
          </p:cNvPr>
          <p:cNvCxnSpPr>
            <a:cxnSpLocks/>
          </p:cNvCxnSpPr>
          <p:nvPr userDrawn="1"/>
        </p:nvCxnSpPr>
        <p:spPr>
          <a:xfrm>
            <a:off x="10934505" y="6204504"/>
            <a:ext cx="0" cy="149412"/>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643A30F-E1BD-667E-597D-4117472644F3}"/>
              </a:ext>
            </a:extLst>
          </p:cNvPr>
          <p:cNvSpPr/>
          <p:nvPr userDrawn="1"/>
        </p:nvSpPr>
        <p:spPr>
          <a:xfrm>
            <a:off x="1712209" y="6431336"/>
            <a:ext cx="3712555" cy="123111"/>
          </a:xfrm>
          <a:prstGeom prst="rect">
            <a:avLst/>
          </a:prstGeom>
        </p:spPr>
        <p:txBody>
          <a:bodyPr wrap="none" lIns="0" tIns="0" rIns="0" bIns="0">
            <a:spAutoFit/>
          </a:bodyPr>
          <a:lstStyle/>
          <a:p>
            <a:pPr algn="l"/>
            <a:r>
              <a:rPr lang="en-AU" altLang="en-US" sz="800" dirty="0">
                <a:solidFill>
                  <a:schemeClr val="bg1"/>
                </a:solidFill>
                <a:latin typeface="Arial" panose="020B0604020202020204" pitchFamily="34" charset="0"/>
              </a:rPr>
              <a:t>Liability limited by a scheme approved under Professional Standards Legislation.</a:t>
            </a:r>
            <a:r>
              <a:rPr lang="en-AU" altLang="en-US" sz="800" baseline="0" dirty="0">
                <a:solidFill>
                  <a:schemeClr val="bg1"/>
                </a:solidFill>
                <a:latin typeface="Arial" panose="020B0604020202020204" pitchFamily="34" charset="0"/>
              </a:rPr>
              <a:t> </a:t>
            </a:r>
            <a:endParaRPr lang="en-AU" sz="1984" dirty="0">
              <a:solidFill>
                <a:schemeClr val="bg1"/>
              </a:solidFill>
            </a:endParaRPr>
          </a:p>
        </p:txBody>
      </p:sp>
      <p:sp>
        <p:nvSpPr>
          <p:cNvPr id="13" name="TextBox 12">
            <a:extLst>
              <a:ext uri="{FF2B5EF4-FFF2-40B4-BE49-F238E27FC236}">
                <a16:creationId xmlns:a16="http://schemas.microsoft.com/office/drawing/2014/main" id="{6B80B3BB-58B0-499C-F23F-4A36AEE36FE0}"/>
              </a:ext>
            </a:extLst>
          </p:cNvPr>
          <p:cNvSpPr txBox="1"/>
          <p:nvPr userDrawn="1">
            <p:custDataLst>
              <p:tags r:id="rId1"/>
            </p:custDataLst>
          </p:nvPr>
        </p:nvSpPr>
        <p:spPr>
          <a:xfrm>
            <a:off x="6150832" y="6296487"/>
            <a:ext cx="3600000"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dirty="0">
              <a:solidFill>
                <a:schemeClr val="bg1"/>
              </a:solidFill>
              <a:latin typeface="+mn-lt"/>
              <a:ea typeface="+mn-ea"/>
              <a:cs typeface="+mn-cs"/>
            </a:endParaRPr>
          </a:p>
        </p:txBody>
      </p:sp>
    </p:spTree>
    <p:extLst>
      <p:ext uri="{BB962C8B-B14F-4D97-AF65-F5344CB8AC3E}">
        <p14:creationId xmlns:p14="http://schemas.microsoft.com/office/powerpoint/2010/main" val="5453845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072433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_Dark BG colour">
    <p:bg>
      <p:bgPr>
        <a:solidFill>
          <a:schemeClr val="accent2"/>
        </a:solidFill>
        <a:effectLst/>
      </p:bgPr>
    </p:bg>
    <p:spTree>
      <p:nvGrpSpPr>
        <p:cNvPr id="1" name=""/>
        <p:cNvGrpSpPr/>
        <p:nvPr/>
      </p:nvGrpSpPr>
      <p:grpSpPr>
        <a:xfrm>
          <a:off x="0" y="0"/>
          <a:ext cx="0" cy="0"/>
          <a:chOff x="0" y="0"/>
          <a:chExt cx="0" cy="0"/>
        </a:xfrm>
      </p:grpSpPr>
      <p:sp>
        <p:nvSpPr>
          <p:cNvPr id="3" name="Graphic 8">
            <a:extLst>
              <a:ext uri="{FF2B5EF4-FFF2-40B4-BE49-F238E27FC236}">
                <a16:creationId xmlns:a16="http://schemas.microsoft.com/office/drawing/2014/main" id="{529A0DC6-2A2C-BB14-CEFE-9ED6CB16540B}"/>
              </a:ext>
            </a:extLst>
          </p:cNvPr>
          <p:cNvSpPr/>
          <p:nvPr userDrawn="1"/>
        </p:nvSpPr>
        <p:spPr>
          <a:xfrm>
            <a:off x="1003200" y="6204504"/>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solidFill>
                <a:schemeClr val="bg1"/>
              </a:solidFill>
            </a:endParaRPr>
          </a:p>
        </p:txBody>
      </p:sp>
      <p:sp>
        <p:nvSpPr>
          <p:cNvPr id="6" name="Shape 8">
            <a:extLst>
              <a:ext uri="{FF2B5EF4-FFF2-40B4-BE49-F238E27FC236}">
                <a16:creationId xmlns:a16="http://schemas.microsoft.com/office/drawing/2014/main" id="{9157870F-8A8C-F0D8-F724-34647BCBE18A}"/>
              </a:ext>
            </a:extLst>
          </p:cNvPr>
          <p:cNvSpPr txBox="1">
            <a:spLocks/>
          </p:cNvSpPr>
          <p:nvPr userDrawn="1"/>
        </p:nvSpPr>
        <p:spPr>
          <a:xfrm>
            <a:off x="10952564" y="6204504"/>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58454271-757F-DCA8-708A-DE001A08F5A3}"/>
              </a:ext>
              <a:ext uri="{C183D7F6-B498-43B3-948B-1728B52AA6E4}">
                <adec:decorative xmlns:adec="http://schemas.microsoft.com/office/drawing/2017/decorative" val="1"/>
              </a:ext>
            </a:extLst>
          </p:cNvPr>
          <p:cNvSpPr txBox="1"/>
          <p:nvPr userDrawn="1"/>
        </p:nvSpPr>
        <p:spPr>
          <a:xfrm>
            <a:off x="1712209" y="6204504"/>
            <a:ext cx="7960218" cy="184665"/>
          </a:xfrm>
          <a:prstGeom prst="rect">
            <a:avLst/>
          </a:prstGeom>
          <a:noFill/>
        </p:spPr>
        <p:txBody>
          <a:bodyPr wrap="square" lIns="0" tIns="0" rIns="0" bIns="0" rtlCol="0">
            <a:spAutoFit/>
          </a:bodyPr>
          <a:lstStyle/>
          <a:p>
            <a:pPr algn="l" eaLnBrk="1" hangingPunct="1"/>
            <a:r>
              <a:rPr lang="en-AU" altLang="en-US" sz="600" dirty="0">
                <a:solidFill>
                  <a:schemeClr val="bg1"/>
                </a:solidFill>
                <a:latin typeface="Arial" panose="020B0604020202020204" pitchFamily="34" charset="0"/>
              </a:rPr>
              <a:t>©2025 KPMG, an Australian partnership and a member firm of the KPMG global organisation of independent member firms affiliated with KPMG International Limited, a private English company limited by guarantee. All rights reserved. The KPMG name and logo are trademarks used under license by the independent member firms of the KPMG global organisation. </a:t>
            </a:r>
            <a:endParaRPr lang="en-AU" altLang="en-US" sz="600" b="1" dirty="0">
              <a:solidFill>
                <a:schemeClr val="bg1"/>
              </a:solidFill>
              <a:latin typeface="Arial" panose="020B0604020202020204" pitchFamily="34" charset="0"/>
            </a:endParaRPr>
          </a:p>
        </p:txBody>
      </p:sp>
      <p:cxnSp>
        <p:nvCxnSpPr>
          <p:cNvPr id="11" name="Straight Connector 10">
            <a:extLst>
              <a:ext uri="{FF2B5EF4-FFF2-40B4-BE49-F238E27FC236}">
                <a16:creationId xmlns:a16="http://schemas.microsoft.com/office/drawing/2014/main" id="{B030D679-3C37-D43A-A700-392E2188516B}"/>
              </a:ext>
            </a:extLst>
          </p:cNvPr>
          <p:cNvCxnSpPr>
            <a:cxnSpLocks/>
          </p:cNvCxnSpPr>
          <p:nvPr userDrawn="1"/>
        </p:nvCxnSpPr>
        <p:spPr>
          <a:xfrm>
            <a:off x="10934505" y="6204504"/>
            <a:ext cx="0" cy="149412"/>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643A30F-E1BD-667E-597D-4117472644F3}"/>
              </a:ext>
            </a:extLst>
          </p:cNvPr>
          <p:cNvSpPr/>
          <p:nvPr userDrawn="1"/>
        </p:nvSpPr>
        <p:spPr>
          <a:xfrm>
            <a:off x="1712209" y="6431336"/>
            <a:ext cx="3712555" cy="123111"/>
          </a:xfrm>
          <a:prstGeom prst="rect">
            <a:avLst/>
          </a:prstGeom>
        </p:spPr>
        <p:txBody>
          <a:bodyPr wrap="none" lIns="0" tIns="0" rIns="0" bIns="0">
            <a:spAutoFit/>
          </a:bodyPr>
          <a:lstStyle/>
          <a:p>
            <a:pPr algn="l"/>
            <a:r>
              <a:rPr lang="en-AU" altLang="en-US" sz="800" dirty="0">
                <a:solidFill>
                  <a:schemeClr val="bg1"/>
                </a:solidFill>
                <a:latin typeface="Arial" panose="020B0604020202020204" pitchFamily="34" charset="0"/>
              </a:rPr>
              <a:t>Liability limited by a scheme approved under Professional Standards Legislation.</a:t>
            </a:r>
            <a:r>
              <a:rPr lang="en-AU" altLang="en-US" sz="800" baseline="0" dirty="0">
                <a:solidFill>
                  <a:schemeClr val="bg1"/>
                </a:solidFill>
                <a:latin typeface="Arial" panose="020B0604020202020204" pitchFamily="34" charset="0"/>
              </a:rPr>
              <a:t> </a:t>
            </a:r>
            <a:endParaRPr lang="en-AU" sz="1984" dirty="0">
              <a:solidFill>
                <a:schemeClr val="bg1"/>
              </a:solidFill>
            </a:endParaRPr>
          </a:p>
        </p:txBody>
      </p:sp>
      <p:sp>
        <p:nvSpPr>
          <p:cNvPr id="13" name="TextBox 12">
            <a:extLst>
              <a:ext uri="{FF2B5EF4-FFF2-40B4-BE49-F238E27FC236}">
                <a16:creationId xmlns:a16="http://schemas.microsoft.com/office/drawing/2014/main" id="{6B80B3BB-58B0-499C-F23F-4A36AEE36FE0}"/>
              </a:ext>
            </a:extLst>
          </p:cNvPr>
          <p:cNvSpPr txBox="1"/>
          <p:nvPr userDrawn="1">
            <p:custDataLst>
              <p:tags r:id="rId1"/>
            </p:custDataLst>
          </p:nvPr>
        </p:nvSpPr>
        <p:spPr>
          <a:xfrm>
            <a:off x="6150832" y="6296487"/>
            <a:ext cx="3600000"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dirty="0">
              <a:solidFill>
                <a:schemeClr val="bg1"/>
              </a:solidFill>
              <a:latin typeface="+mn-lt"/>
              <a:ea typeface="+mn-ea"/>
              <a:cs typeface="+mn-cs"/>
            </a:endParaRPr>
          </a:p>
        </p:txBody>
      </p:sp>
    </p:spTree>
    <p:extLst>
      <p:ext uri="{BB962C8B-B14F-4D97-AF65-F5344CB8AC3E}">
        <p14:creationId xmlns:p14="http://schemas.microsoft.com/office/powerpoint/2010/main" val="31384308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73097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dirty="0"/>
              <a:t>Click to edit </a:t>
            </a:r>
            <a:br>
              <a:rPr lang="en-US" dirty="0"/>
            </a:br>
            <a:r>
              <a:rPr lang="en-US" dirty="0"/>
              <a:t>Master title style</a:t>
            </a:r>
            <a:endParaRPr lang="en-GB" dirty="0"/>
          </a:p>
        </p:txBody>
      </p:sp>
    </p:spTree>
    <p:extLst>
      <p:ext uri="{BB962C8B-B14F-4D97-AF65-F5344CB8AC3E}">
        <p14:creationId xmlns:p14="http://schemas.microsoft.com/office/powerpoint/2010/main" val="3744653036"/>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dirty="0"/>
              <a:t>Click to edit </a:t>
            </a:r>
            <a:br>
              <a:rPr lang="en-US" dirty="0"/>
            </a:br>
            <a:r>
              <a:rPr lang="en-US" dirty="0"/>
              <a:t>Master title style</a:t>
            </a:r>
            <a:endParaRPr lang="en-GB" dirty="0"/>
          </a:p>
        </p:txBody>
      </p:sp>
      <p:sp>
        <p:nvSpPr>
          <p:cNvPr id="3" name="Graphic 8">
            <a:extLst>
              <a:ext uri="{FF2B5EF4-FFF2-40B4-BE49-F238E27FC236}">
                <a16:creationId xmlns:a16="http://schemas.microsoft.com/office/drawing/2014/main" id="{80085E16-4B5A-A6B4-D8E4-493D454CE828}"/>
              </a:ext>
            </a:extLst>
          </p:cNvPr>
          <p:cNvSpPr/>
          <p:nvPr userDrawn="1"/>
        </p:nvSpPr>
        <p:spPr>
          <a:xfrm>
            <a:off x="1003200" y="6204504"/>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solidFill>
                <a:schemeClr val="bg1"/>
              </a:solidFill>
            </a:endParaRPr>
          </a:p>
        </p:txBody>
      </p:sp>
      <p:sp>
        <p:nvSpPr>
          <p:cNvPr id="7" name="Shape 8">
            <a:extLst>
              <a:ext uri="{FF2B5EF4-FFF2-40B4-BE49-F238E27FC236}">
                <a16:creationId xmlns:a16="http://schemas.microsoft.com/office/drawing/2014/main" id="{7743AF62-F983-110C-0A8E-DE901D369940}"/>
              </a:ext>
            </a:extLst>
          </p:cNvPr>
          <p:cNvSpPr txBox="1">
            <a:spLocks/>
          </p:cNvSpPr>
          <p:nvPr userDrawn="1"/>
        </p:nvSpPr>
        <p:spPr>
          <a:xfrm>
            <a:off x="10952564" y="6204504"/>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1" name="TextBox 10">
            <a:extLst>
              <a:ext uri="{FF2B5EF4-FFF2-40B4-BE49-F238E27FC236}">
                <a16:creationId xmlns:a16="http://schemas.microsoft.com/office/drawing/2014/main" id="{1C02CC4C-F8A2-A424-1F3E-C321825C8176}"/>
              </a:ext>
              <a:ext uri="{C183D7F6-B498-43B3-948B-1728B52AA6E4}">
                <adec:decorative xmlns:adec="http://schemas.microsoft.com/office/drawing/2017/decorative" val="1"/>
              </a:ext>
            </a:extLst>
          </p:cNvPr>
          <p:cNvSpPr txBox="1"/>
          <p:nvPr userDrawn="1"/>
        </p:nvSpPr>
        <p:spPr>
          <a:xfrm>
            <a:off x="1712209" y="6204504"/>
            <a:ext cx="7960218" cy="184665"/>
          </a:xfrm>
          <a:prstGeom prst="rect">
            <a:avLst/>
          </a:prstGeom>
          <a:noFill/>
        </p:spPr>
        <p:txBody>
          <a:bodyPr wrap="square" lIns="0" tIns="0" rIns="0" bIns="0" rtlCol="0">
            <a:spAutoFit/>
          </a:bodyPr>
          <a:lstStyle/>
          <a:p>
            <a:pPr algn="l" eaLnBrk="1" hangingPunct="1"/>
            <a:r>
              <a:rPr lang="en-AU" altLang="en-US" sz="600" dirty="0">
                <a:solidFill>
                  <a:schemeClr val="bg1"/>
                </a:solidFill>
                <a:latin typeface="Arial" panose="020B0604020202020204" pitchFamily="34" charset="0"/>
              </a:rPr>
              <a:t>©2025 KPMG, an Australian partnership and a member firm of the KPMG global organisation of independent member firms affiliated with KPMG International Limited, a private English company limited by guarantee. All rights reserved. The KPMG name and logo are trademarks used under license by the independent member firms of the KPMG global organisation. </a:t>
            </a:r>
            <a:endParaRPr lang="en-AU" altLang="en-US" sz="600" b="1" dirty="0">
              <a:solidFill>
                <a:schemeClr val="bg1"/>
              </a:solidFill>
              <a:latin typeface="Arial" panose="020B0604020202020204" pitchFamily="34" charset="0"/>
            </a:endParaRPr>
          </a:p>
        </p:txBody>
      </p:sp>
      <p:cxnSp>
        <p:nvCxnSpPr>
          <p:cNvPr id="12" name="Straight Connector 11">
            <a:extLst>
              <a:ext uri="{FF2B5EF4-FFF2-40B4-BE49-F238E27FC236}">
                <a16:creationId xmlns:a16="http://schemas.microsoft.com/office/drawing/2014/main" id="{106DE66A-2382-6E2E-AB9A-FFFACCEEC232}"/>
              </a:ext>
            </a:extLst>
          </p:cNvPr>
          <p:cNvCxnSpPr>
            <a:cxnSpLocks/>
          </p:cNvCxnSpPr>
          <p:nvPr userDrawn="1"/>
        </p:nvCxnSpPr>
        <p:spPr>
          <a:xfrm>
            <a:off x="10934505" y="6204504"/>
            <a:ext cx="0" cy="149412"/>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4D6DE2B-9C1D-FAB3-F6FA-A25E21281BF6}"/>
              </a:ext>
            </a:extLst>
          </p:cNvPr>
          <p:cNvSpPr/>
          <p:nvPr userDrawn="1"/>
        </p:nvSpPr>
        <p:spPr>
          <a:xfrm>
            <a:off x="1712209" y="6431336"/>
            <a:ext cx="3712555" cy="123111"/>
          </a:xfrm>
          <a:prstGeom prst="rect">
            <a:avLst/>
          </a:prstGeom>
        </p:spPr>
        <p:txBody>
          <a:bodyPr wrap="none" lIns="0" tIns="0" rIns="0" bIns="0">
            <a:spAutoFit/>
          </a:bodyPr>
          <a:lstStyle/>
          <a:p>
            <a:pPr algn="l"/>
            <a:r>
              <a:rPr lang="en-AU" altLang="en-US" sz="800" dirty="0">
                <a:solidFill>
                  <a:schemeClr val="bg1"/>
                </a:solidFill>
                <a:latin typeface="Arial" panose="020B0604020202020204" pitchFamily="34" charset="0"/>
              </a:rPr>
              <a:t>Liability limited by a scheme approved under Professional Standards Legislation.</a:t>
            </a:r>
            <a:r>
              <a:rPr lang="en-AU" altLang="en-US" sz="800" baseline="0" dirty="0">
                <a:solidFill>
                  <a:schemeClr val="bg1"/>
                </a:solidFill>
                <a:latin typeface="Arial" panose="020B0604020202020204" pitchFamily="34" charset="0"/>
              </a:rPr>
              <a:t> </a:t>
            </a:r>
            <a:endParaRPr lang="en-AU" sz="1984" dirty="0">
              <a:solidFill>
                <a:schemeClr val="bg1"/>
              </a:solidFill>
            </a:endParaRPr>
          </a:p>
        </p:txBody>
      </p:sp>
      <p:sp>
        <p:nvSpPr>
          <p:cNvPr id="14" name="TextBox 13">
            <a:extLst>
              <a:ext uri="{FF2B5EF4-FFF2-40B4-BE49-F238E27FC236}">
                <a16:creationId xmlns:a16="http://schemas.microsoft.com/office/drawing/2014/main" id="{A481FCEB-7A8C-D367-7260-0848334DABFA}"/>
              </a:ext>
            </a:extLst>
          </p:cNvPr>
          <p:cNvSpPr txBox="1"/>
          <p:nvPr userDrawn="1">
            <p:custDataLst>
              <p:tags r:id="rId1"/>
            </p:custDataLst>
          </p:nvPr>
        </p:nvSpPr>
        <p:spPr>
          <a:xfrm>
            <a:off x="6150832" y="6296487"/>
            <a:ext cx="3600000"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dirty="0">
              <a:solidFill>
                <a:schemeClr val="bg1"/>
              </a:solidFill>
              <a:latin typeface="+mn-lt"/>
              <a:ea typeface="+mn-ea"/>
              <a:cs typeface="+mn-cs"/>
            </a:endParaRPr>
          </a:p>
        </p:txBody>
      </p:sp>
    </p:spTree>
    <p:extLst>
      <p:ext uri="{BB962C8B-B14F-4D97-AF65-F5344CB8AC3E}">
        <p14:creationId xmlns:p14="http://schemas.microsoft.com/office/powerpoint/2010/main" val="516803910"/>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Graphic 8">
            <a:extLst>
              <a:ext uri="{FF2B5EF4-FFF2-40B4-BE49-F238E27FC236}">
                <a16:creationId xmlns:a16="http://schemas.microsoft.com/office/drawing/2014/main" id="{5BA99C69-2EE0-6C86-9526-489712F67969}"/>
              </a:ext>
            </a:extLst>
          </p:cNvPr>
          <p:cNvSpPr/>
          <p:nvPr userDrawn="1"/>
        </p:nvSpPr>
        <p:spPr>
          <a:xfrm>
            <a:off x="1003200" y="6204504"/>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solidFill>
                <a:schemeClr val="bg1"/>
              </a:solidFill>
            </a:endParaRPr>
          </a:p>
        </p:txBody>
      </p:sp>
      <p:sp>
        <p:nvSpPr>
          <p:cNvPr id="6" name="Shape 8">
            <a:extLst>
              <a:ext uri="{FF2B5EF4-FFF2-40B4-BE49-F238E27FC236}">
                <a16:creationId xmlns:a16="http://schemas.microsoft.com/office/drawing/2014/main" id="{90030AE6-EBDD-C9B3-99EF-07F5FF371AFF}"/>
              </a:ext>
            </a:extLst>
          </p:cNvPr>
          <p:cNvSpPr txBox="1">
            <a:spLocks/>
          </p:cNvSpPr>
          <p:nvPr userDrawn="1"/>
        </p:nvSpPr>
        <p:spPr>
          <a:xfrm>
            <a:off x="10952564" y="6204504"/>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E48DDE8F-D77F-DC97-BF82-90BC30947F22}"/>
              </a:ext>
              <a:ext uri="{C183D7F6-B498-43B3-948B-1728B52AA6E4}">
                <adec:decorative xmlns:adec="http://schemas.microsoft.com/office/drawing/2017/decorative" val="1"/>
              </a:ext>
            </a:extLst>
          </p:cNvPr>
          <p:cNvSpPr txBox="1"/>
          <p:nvPr userDrawn="1"/>
        </p:nvSpPr>
        <p:spPr>
          <a:xfrm>
            <a:off x="1712209" y="6204504"/>
            <a:ext cx="7960218" cy="184665"/>
          </a:xfrm>
          <a:prstGeom prst="rect">
            <a:avLst/>
          </a:prstGeom>
          <a:noFill/>
        </p:spPr>
        <p:txBody>
          <a:bodyPr wrap="square" lIns="0" tIns="0" rIns="0" bIns="0" rtlCol="0">
            <a:spAutoFit/>
          </a:bodyPr>
          <a:lstStyle/>
          <a:p>
            <a:pPr algn="l" eaLnBrk="1" hangingPunct="1"/>
            <a:r>
              <a:rPr lang="en-AU" altLang="en-US" sz="600" dirty="0">
                <a:solidFill>
                  <a:schemeClr val="bg1"/>
                </a:solidFill>
                <a:latin typeface="Arial" panose="020B0604020202020204" pitchFamily="34" charset="0"/>
              </a:rPr>
              <a:t>©2025 KPMG, an Australian partnership and a member firm of the KPMG global organisation of independent member firms affiliated with KPMG International Limited, a private English company limited by guarantee. All rights reserved. The KPMG name and logo are trademarks used under license by the independent member firms of the KPMG global organisation. </a:t>
            </a:r>
            <a:endParaRPr lang="en-AU" altLang="en-US" sz="600" b="1" dirty="0">
              <a:solidFill>
                <a:schemeClr val="bg1"/>
              </a:solidFill>
              <a:latin typeface="Arial" panose="020B0604020202020204" pitchFamily="34" charset="0"/>
            </a:endParaRPr>
          </a:p>
        </p:txBody>
      </p:sp>
      <p:cxnSp>
        <p:nvCxnSpPr>
          <p:cNvPr id="11" name="Straight Connector 10">
            <a:extLst>
              <a:ext uri="{FF2B5EF4-FFF2-40B4-BE49-F238E27FC236}">
                <a16:creationId xmlns:a16="http://schemas.microsoft.com/office/drawing/2014/main" id="{474B97DF-6018-382D-8486-386E90AC4277}"/>
              </a:ext>
            </a:extLst>
          </p:cNvPr>
          <p:cNvCxnSpPr>
            <a:cxnSpLocks/>
          </p:cNvCxnSpPr>
          <p:nvPr userDrawn="1"/>
        </p:nvCxnSpPr>
        <p:spPr>
          <a:xfrm>
            <a:off x="10934505" y="6204504"/>
            <a:ext cx="0" cy="149412"/>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B19E2D8-04E3-C527-01F2-B33825807E48}"/>
              </a:ext>
            </a:extLst>
          </p:cNvPr>
          <p:cNvSpPr/>
          <p:nvPr userDrawn="1"/>
        </p:nvSpPr>
        <p:spPr>
          <a:xfrm>
            <a:off x="1712209" y="6431336"/>
            <a:ext cx="3712555" cy="123111"/>
          </a:xfrm>
          <a:prstGeom prst="rect">
            <a:avLst/>
          </a:prstGeom>
        </p:spPr>
        <p:txBody>
          <a:bodyPr wrap="none" lIns="0" tIns="0" rIns="0" bIns="0">
            <a:spAutoFit/>
          </a:bodyPr>
          <a:lstStyle/>
          <a:p>
            <a:pPr algn="l"/>
            <a:r>
              <a:rPr lang="en-AU" altLang="en-US" sz="800" dirty="0">
                <a:solidFill>
                  <a:schemeClr val="bg1"/>
                </a:solidFill>
                <a:latin typeface="Arial" panose="020B0604020202020204" pitchFamily="34" charset="0"/>
              </a:rPr>
              <a:t>Liability limited by a scheme approved under Professional Standards Legislation.</a:t>
            </a:r>
            <a:r>
              <a:rPr lang="en-AU" altLang="en-US" sz="800" baseline="0" dirty="0">
                <a:solidFill>
                  <a:schemeClr val="bg1"/>
                </a:solidFill>
                <a:latin typeface="Arial" panose="020B0604020202020204" pitchFamily="34" charset="0"/>
              </a:rPr>
              <a:t> </a:t>
            </a:r>
            <a:endParaRPr lang="en-AU" sz="1984" dirty="0">
              <a:solidFill>
                <a:schemeClr val="bg1"/>
              </a:solidFill>
            </a:endParaRPr>
          </a:p>
        </p:txBody>
      </p:sp>
      <p:sp>
        <p:nvSpPr>
          <p:cNvPr id="13" name="TextBox 12">
            <a:extLst>
              <a:ext uri="{FF2B5EF4-FFF2-40B4-BE49-F238E27FC236}">
                <a16:creationId xmlns:a16="http://schemas.microsoft.com/office/drawing/2014/main" id="{2A44FA44-98C7-222B-97DD-AF97A0BDA238}"/>
              </a:ext>
            </a:extLst>
          </p:cNvPr>
          <p:cNvSpPr txBox="1"/>
          <p:nvPr userDrawn="1">
            <p:custDataLst>
              <p:tags r:id="rId1"/>
            </p:custDataLst>
          </p:nvPr>
        </p:nvSpPr>
        <p:spPr>
          <a:xfrm>
            <a:off x="6150832" y="6296487"/>
            <a:ext cx="3600000"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dirty="0">
              <a:solidFill>
                <a:schemeClr val="bg1"/>
              </a:solidFill>
              <a:latin typeface="+mn-lt"/>
              <a:ea typeface="+mn-ea"/>
              <a:cs typeface="+mn-cs"/>
            </a:endParaRPr>
          </a:p>
        </p:txBody>
      </p:sp>
    </p:spTree>
    <p:extLst>
      <p:ext uri="{BB962C8B-B14F-4D97-AF65-F5344CB8AC3E}">
        <p14:creationId xmlns:p14="http://schemas.microsoft.com/office/powerpoint/2010/main" val="1436389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Right hand text_Blue">
    <p:bg>
      <p:bgPr>
        <a:solidFill>
          <a:schemeClr val="accent2"/>
        </a:solidFill>
        <a:effectLst/>
      </p:bgPr>
    </p:bg>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3518706" y="1330126"/>
            <a:ext cx="7680969"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Graphic 8">
            <a:extLst>
              <a:ext uri="{FF2B5EF4-FFF2-40B4-BE49-F238E27FC236}">
                <a16:creationId xmlns:a16="http://schemas.microsoft.com/office/drawing/2014/main" id="{5BA99C69-2EE0-6C86-9526-489712F67969}"/>
              </a:ext>
            </a:extLst>
          </p:cNvPr>
          <p:cNvSpPr/>
          <p:nvPr userDrawn="1"/>
        </p:nvSpPr>
        <p:spPr>
          <a:xfrm>
            <a:off x="1003200" y="6204504"/>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solidFill>
                <a:schemeClr val="bg1"/>
              </a:solidFill>
            </a:endParaRPr>
          </a:p>
        </p:txBody>
      </p:sp>
      <p:sp>
        <p:nvSpPr>
          <p:cNvPr id="6" name="Shape 8">
            <a:extLst>
              <a:ext uri="{FF2B5EF4-FFF2-40B4-BE49-F238E27FC236}">
                <a16:creationId xmlns:a16="http://schemas.microsoft.com/office/drawing/2014/main" id="{90030AE6-EBDD-C9B3-99EF-07F5FF371AFF}"/>
              </a:ext>
            </a:extLst>
          </p:cNvPr>
          <p:cNvSpPr txBox="1">
            <a:spLocks/>
          </p:cNvSpPr>
          <p:nvPr userDrawn="1"/>
        </p:nvSpPr>
        <p:spPr>
          <a:xfrm>
            <a:off x="10952564" y="6204504"/>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E48DDE8F-D77F-DC97-BF82-90BC30947F22}"/>
              </a:ext>
              <a:ext uri="{C183D7F6-B498-43B3-948B-1728B52AA6E4}">
                <adec:decorative xmlns:adec="http://schemas.microsoft.com/office/drawing/2017/decorative" val="1"/>
              </a:ext>
            </a:extLst>
          </p:cNvPr>
          <p:cNvSpPr txBox="1"/>
          <p:nvPr userDrawn="1"/>
        </p:nvSpPr>
        <p:spPr>
          <a:xfrm>
            <a:off x="1712209" y="6204504"/>
            <a:ext cx="7960218" cy="184665"/>
          </a:xfrm>
          <a:prstGeom prst="rect">
            <a:avLst/>
          </a:prstGeom>
          <a:noFill/>
        </p:spPr>
        <p:txBody>
          <a:bodyPr wrap="square" lIns="0" tIns="0" rIns="0" bIns="0" rtlCol="0">
            <a:spAutoFit/>
          </a:bodyPr>
          <a:lstStyle/>
          <a:p>
            <a:pPr algn="l" eaLnBrk="1" hangingPunct="1"/>
            <a:r>
              <a:rPr lang="en-AU" altLang="en-US" sz="600" dirty="0">
                <a:solidFill>
                  <a:schemeClr val="bg1"/>
                </a:solidFill>
                <a:latin typeface="Arial" panose="020B0604020202020204" pitchFamily="34" charset="0"/>
              </a:rPr>
              <a:t>©2025 KPMG, an Australian partnership and a member firm of the KPMG global organisation of independent member firms affiliated with KPMG International Limited, a private English company limited by guarantee. All rights reserved. The KPMG name and logo are trademarks used under license by the independent member firms of the KPMG global organisation. </a:t>
            </a:r>
            <a:endParaRPr lang="en-AU" altLang="en-US" sz="600" b="1" dirty="0">
              <a:solidFill>
                <a:schemeClr val="bg1"/>
              </a:solidFill>
              <a:latin typeface="Arial" panose="020B0604020202020204" pitchFamily="34" charset="0"/>
            </a:endParaRPr>
          </a:p>
        </p:txBody>
      </p:sp>
      <p:cxnSp>
        <p:nvCxnSpPr>
          <p:cNvPr id="11" name="Straight Connector 10">
            <a:extLst>
              <a:ext uri="{FF2B5EF4-FFF2-40B4-BE49-F238E27FC236}">
                <a16:creationId xmlns:a16="http://schemas.microsoft.com/office/drawing/2014/main" id="{474B97DF-6018-382D-8486-386E90AC4277}"/>
              </a:ext>
            </a:extLst>
          </p:cNvPr>
          <p:cNvCxnSpPr>
            <a:cxnSpLocks/>
          </p:cNvCxnSpPr>
          <p:nvPr userDrawn="1"/>
        </p:nvCxnSpPr>
        <p:spPr>
          <a:xfrm>
            <a:off x="10934505" y="6204504"/>
            <a:ext cx="0" cy="149412"/>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B19E2D8-04E3-C527-01F2-B33825807E48}"/>
              </a:ext>
            </a:extLst>
          </p:cNvPr>
          <p:cNvSpPr/>
          <p:nvPr userDrawn="1"/>
        </p:nvSpPr>
        <p:spPr>
          <a:xfrm>
            <a:off x="1712209" y="6431336"/>
            <a:ext cx="3712555" cy="123111"/>
          </a:xfrm>
          <a:prstGeom prst="rect">
            <a:avLst/>
          </a:prstGeom>
        </p:spPr>
        <p:txBody>
          <a:bodyPr wrap="none" lIns="0" tIns="0" rIns="0" bIns="0">
            <a:spAutoFit/>
          </a:bodyPr>
          <a:lstStyle/>
          <a:p>
            <a:pPr algn="l"/>
            <a:r>
              <a:rPr lang="en-AU" altLang="en-US" sz="800" dirty="0">
                <a:solidFill>
                  <a:schemeClr val="bg1"/>
                </a:solidFill>
                <a:latin typeface="Arial" panose="020B0604020202020204" pitchFamily="34" charset="0"/>
              </a:rPr>
              <a:t>Liability limited by a scheme approved under Professional Standards Legislation.</a:t>
            </a:r>
            <a:r>
              <a:rPr lang="en-AU" altLang="en-US" sz="800" baseline="0" dirty="0">
                <a:solidFill>
                  <a:schemeClr val="bg1"/>
                </a:solidFill>
                <a:latin typeface="Arial" panose="020B0604020202020204" pitchFamily="34" charset="0"/>
              </a:rPr>
              <a:t> </a:t>
            </a:r>
            <a:endParaRPr lang="en-AU" sz="1984" dirty="0">
              <a:solidFill>
                <a:schemeClr val="bg1"/>
              </a:solidFill>
            </a:endParaRPr>
          </a:p>
        </p:txBody>
      </p:sp>
      <p:sp>
        <p:nvSpPr>
          <p:cNvPr id="13" name="TextBox 12">
            <a:extLst>
              <a:ext uri="{FF2B5EF4-FFF2-40B4-BE49-F238E27FC236}">
                <a16:creationId xmlns:a16="http://schemas.microsoft.com/office/drawing/2014/main" id="{2A44FA44-98C7-222B-97DD-AF97A0BDA238}"/>
              </a:ext>
            </a:extLst>
          </p:cNvPr>
          <p:cNvSpPr txBox="1"/>
          <p:nvPr userDrawn="1">
            <p:custDataLst>
              <p:tags r:id="rId1"/>
            </p:custDataLst>
          </p:nvPr>
        </p:nvSpPr>
        <p:spPr>
          <a:xfrm>
            <a:off x="6150832" y="6296487"/>
            <a:ext cx="3600000"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dirty="0">
              <a:solidFill>
                <a:schemeClr val="bg1"/>
              </a:solidFill>
              <a:latin typeface="+mn-lt"/>
              <a:ea typeface="+mn-ea"/>
              <a:cs typeface="+mn-cs"/>
            </a:endParaRPr>
          </a:p>
        </p:txBody>
      </p:sp>
    </p:spTree>
    <p:extLst>
      <p:ext uri="{BB962C8B-B14F-4D97-AF65-F5344CB8AC3E}">
        <p14:creationId xmlns:p14="http://schemas.microsoft.com/office/powerpoint/2010/main" val="17981378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573803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ight column text">
    <p:spTree>
      <p:nvGrpSpPr>
        <p:cNvPr id="1" name=""/>
        <p:cNvGrpSpPr/>
        <p:nvPr/>
      </p:nvGrpSpPr>
      <p:grpSpPr>
        <a:xfrm>
          <a:off x="0" y="0"/>
          <a:ext cx="0" cy="0"/>
          <a:chOff x="0" y="0"/>
          <a:chExt cx="0" cy="0"/>
        </a:xfrm>
      </p:grpSpPr>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
        <p:nvSpPr>
          <p:cNvPr id="2" name="Rectangle 1">
            <a:extLst>
              <a:ext uri="{FF2B5EF4-FFF2-40B4-BE49-F238E27FC236}">
                <a16:creationId xmlns:a16="http://schemas.microsoft.com/office/drawing/2014/main" id="{A82320F6-D288-394D-9FBA-F8EB99482150}"/>
              </a:ext>
            </a:extLst>
          </p:cNvPr>
          <p:cNvSpPr>
            <a:spLocks noChangeAspect="1"/>
          </p:cNvSpPr>
          <p:nvPr userDrawn="1"/>
        </p:nvSpPr>
        <p:spPr>
          <a:xfrm>
            <a:off x="995363" y="1330325"/>
            <a:ext cx="4968000" cy="454660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dirty="0" err="1">
              <a:solidFill>
                <a:schemeClr val="bg1"/>
              </a:solidFill>
              <a:latin typeface="KPMG Bold" panose="020B0803030202040204" pitchFamily="34" charset="0"/>
              <a:ea typeface="+mj-ea"/>
              <a:cs typeface="+mj-cs"/>
            </a:endParaRPr>
          </a:p>
        </p:txBody>
      </p:sp>
    </p:spTree>
    <p:extLst>
      <p:ext uri="{BB962C8B-B14F-4D97-AF65-F5344CB8AC3E}">
        <p14:creationId xmlns:p14="http://schemas.microsoft.com/office/powerpoint/2010/main" val="40656996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Graphic 8">
            <a:extLst>
              <a:ext uri="{FF2B5EF4-FFF2-40B4-BE49-F238E27FC236}">
                <a16:creationId xmlns:a16="http://schemas.microsoft.com/office/drawing/2014/main" id="{7810514B-2F09-4DC6-4113-15B2BF86657A}"/>
              </a:ext>
            </a:extLst>
          </p:cNvPr>
          <p:cNvSpPr/>
          <p:nvPr userDrawn="1"/>
        </p:nvSpPr>
        <p:spPr>
          <a:xfrm>
            <a:off x="1003200" y="6204504"/>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solidFill>
                <a:schemeClr val="bg1"/>
              </a:solidFill>
            </a:endParaRPr>
          </a:p>
        </p:txBody>
      </p:sp>
      <p:sp>
        <p:nvSpPr>
          <p:cNvPr id="6" name="Shape 8">
            <a:extLst>
              <a:ext uri="{FF2B5EF4-FFF2-40B4-BE49-F238E27FC236}">
                <a16:creationId xmlns:a16="http://schemas.microsoft.com/office/drawing/2014/main" id="{4D7C90CB-E7CC-C5FB-D8C4-2A80E269D001}"/>
              </a:ext>
            </a:extLst>
          </p:cNvPr>
          <p:cNvSpPr txBox="1">
            <a:spLocks/>
          </p:cNvSpPr>
          <p:nvPr userDrawn="1"/>
        </p:nvSpPr>
        <p:spPr>
          <a:xfrm>
            <a:off x="10952564" y="6204504"/>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9" name="TextBox 8">
            <a:extLst>
              <a:ext uri="{FF2B5EF4-FFF2-40B4-BE49-F238E27FC236}">
                <a16:creationId xmlns:a16="http://schemas.microsoft.com/office/drawing/2014/main" id="{39854EBC-153B-B320-6287-6C8A7E2AE876}"/>
              </a:ext>
              <a:ext uri="{C183D7F6-B498-43B3-948B-1728B52AA6E4}">
                <adec:decorative xmlns:adec="http://schemas.microsoft.com/office/drawing/2017/decorative" val="1"/>
              </a:ext>
            </a:extLst>
          </p:cNvPr>
          <p:cNvSpPr txBox="1"/>
          <p:nvPr userDrawn="1"/>
        </p:nvSpPr>
        <p:spPr>
          <a:xfrm>
            <a:off x="1712209" y="6204504"/>
            <a:ext cx="7960218" cy="184665"/>
          </a:xfrm>
          <a:prstGeom prst="rect">
            <a:avLst/>
          </a:prstGeom>
          <a:noFill/>
        </p:spPr>
        <p:txBody>
          <a:bodyPr wrap="square" lIns="0" tIns="0" rIns="0" bIns="0" rtlCol="0">
            <a:spAutoFit/>
          </a:bodyPr>
          <a:lstStyle/>
          <a:p>
            <a:pPr algn="l" eaLnBrk="1" hangingPunct="1"/>
            <a:r>
              <a:rPr lang="en-AU" altLang="en-US" sz="600" dirty="0">
                <a:solidFill>
                  <a:schemeClr val="bg1"/>
                </a:solidFill>
                <a:latin typeface="Arial" panose="020B0604020202020204" pitchFamily="34" charset="0"/>
              </a:rPr>
              <a:t>©2025 KPMG, an Australian partnership and a member firm of the KPMG global organisation of independent member firms affiliated with KPMG International Limited, a private English company limited by guarantee. All rights reserved. The KPMG name and logo are trademarks used under license by the independent member firms of the KPMG global organisation. </a:t>
            </a:r>
            <a:endParaRPr lang="en-AU" altLang="en-US" sz="600" b="1" dirty="0">
              <a:solidFill>
                <a:schemeClr val="bg1"/>
              </a:solidFill>
              <a:latin typeface="Arial" panose="020B0604020202020204" pitchFamily="34" charset="0"/>
            </a:endParaRPr>
          </a:p>
        </p:txBody>
      </p:sp>
      <p:cxnSp>
        <p:nvCxnSpPr>
          <p:cNvPr id="11" name="Straight Connector 10">
            <a:extLst>
              <a:ext uri="{FF2B5EF4-FFF2-40B4-BE49-F238E27FC236}">
                <a16:creationId xmlns:a16="http://schemas.microsoft.com/office/drawing/2014/main" id="{9B8CB40D-437A-2118-DBFD-63BF605DD35E}"/>
              </a:ext>
            </a:extLst>
          </p:cNvPr>
          <p:cNvCxnSpPr>
            <a:cxnSpLocks/>
          </p:cNvCxnSpPr>
          <p:nvPr userDrawn="1"/>
        </p:nvCxnSpPr>
        <p:spPr>
          <a:xfrm>
            <a:off x="10934505" y="6204504"/>
            <a:ext cx="0" cy="149412"/>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EF28228-2FB8-F3D7-9CEB-65051279087F}"/>
              </a:ext>
            </a:extLst>
          </p:cNvPr>
          <p:cNvSpPr/>
          <p:nvPr userDrawn="1"/>
        </p:nvSpPr>
        <p:spPr>
          <a:xfrm>
            <a:off x="1712209" y="6431336"/>
            <a:ext cx="3712555" cy="123111"/>
          </a:xfrm>
          <a:prstGeom prst="rect">
            <a:avLst/>
          </a:prstGeom>
        </p:spPr>
        <p:txBody>
          <a:bodyPr wrap="none" lIns="0" tIns="0" rIns="0" bIns="0">
            <a:spAutoFit/>
          </a:bodyPr>
          <a:lstStyle/>
          <a:p>
            <a:pPr algn="l"/>
            <a:r>
              <a:rPr lang="en-AU" altLang="en-US" sz="800" dirty="0">
                <a:solidFill>
                  <a:schemeClr val="bg1"/>
                </a:solidFill>
                <a:latin typeface="Arial" panose="020B0604020202020204" pitchFamily="34" charset="0"/>
              </a:rPr>
              <a:t>Liability limited by a scheme approved under Professional Standards Legislation.</a:t>
            </a:r>
            <a:r>
              <a:rPr lang="en-AU" altLang="en-US" sz="800" baseline="0" dirty="0">
                <a:solidFill>
                  <a:schemeClr val="bg1"/>
                </a:solidFill>
                <a:latin typeface="Arial" panose="020B0604020202020204" pitchFamily="34" charset="0"/>
              </a:rPr>
              <a:t> </a:t>
            </a:r>
            <a:endParaRPr lang="en-AU" sz="1984" dirty="0">
              <a:solidFill>
                <a:schemeClr val="bg1"/>
              </a:solidFill>
            </a:endParaRPr>
          </a:p>
        </p:txBody>
      </p:sp>
      <p:sp>
        <p:nvSpPr>
          <p:cNvPr id="13" name="TextBox 12">
            <a:extLst>
              <a:ext uri="{FF2B5EF4-FFF2-40B4-BE49-F238E27FC236}">
                <a16:creationId xmlns:a16="http://schemas.microsoft.com/office/drawing/2014/main" id="{04036EBF-BC0E-8922-F9AA-A8D3B72B73A8}"/>
              </a:ext>
            </a:extLst>
          </p:cNvPr>
          <p:cNvSpPr txBox="1"/>
          <p:nvPr userDrawn="1">
            <p:custDataLst>
              <p:tags r:id="rId1"/>
            </p:custDataLst>
          </p:nvPr>
        </p:nvSpPr>
        <p:spPr>
          <a:xfrm>
            <a:off x="6150832" y="6296487"/>
            <a:ext cx="3600000"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dirty="0">
              <a:solidFill>
                <a:schemeClr val="bg1"/>
              </a:solidFill>
              <a:latin typeface="+mn-lt"/>
              <a:ea typeface="+mn-ea"/>
              <a:cs typeface="+mn-cs"/>
            </a:endParaRPr>
          </a:p>
        </p:txBody>
      </p:sp>
    </p:spTree>
    <p:extLst>
      <p:ext uri="{BB962C8B-B14F-4D97-AF65-F5344CB8AC3E}">
        <p14:creationId xmlns:p14="http://schemas.microsoft.com/office/powerpoint/2010/main" val="23893473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55836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dirty="0"/>
              <a:t>Title slide text only</a:t>
            </a:r>
          </a:p>
        </p:txBody>
      </p:sp>
      <p:pic>
        <p:nvPicPr>
          <p:cNvPr id="8" name="Graphic 7">
            <a:extLst>
              <a:ext uri="{FF2B5EF4-FFF2-40B4-BE49-F238E27FC236}">
                <a16:creationId xmlns:a16="http://schemas.microsoft.com/office/drawing/2014/main" id="{9F2B47DB-768D-47AE-9D19-E74198AD42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40823" y="290202"/>
            <a:ext cx="914400" cy="368346"/>
          </a:xfrm>
          <a:prstGeom prst="rect">
            <a:avLst/>
          </a:prstGeom>
        </p:spPr>
      </p:pic>
    </p:spTree>
    <p:extLst>
      <p:ext uri="{BB962C8B-B14F-4D97-AF65-F5344CB8AC3E}">
        <p14:creationId xmlns:p14="http://schemas.microsoft.com/office/powerpoint/2010/main" val="249522633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48781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04634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193793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24382007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2364256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22369653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693374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177460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2" name="Graphic 8">
            <a:extLst>
              <a:ext uri="{FF2B5EF4-FFF2-40B4-BE49-F238E27FC236}">
                <a16:creationId xmlns:a16="http://schemas.microsoft.com/office/drawing/2014/main" id="{37341011-DEF1-5FC2-6C9F-80B945AE949A}"/>
              </a:ext>
            </a:extLst>
          </p:cNvPr>
          <p:cNvSpPr/>
          <p:nvPr userDrawn="1"/>
        </p:nvSpPr>
        <p:spPr>
          <a:xfrm>
            <a:off x="1003200" y="6204504"/>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solidFill>
                <a:schemeClr val="bg1"/>
              </a:solidFill>
            </a:endParaRPr>
          </a:p>
        </p:txBody>
      </p:sp>
      <p:sp>
        <p:nvSpPr>
          <p:cNvPr id="4" name="Shape 8">
            <a:extLst>
              <a:ext uri="{FF2B5EF4-FFF2-40B4-BE49-F238E27FC236}">
                <a16:creationId xmlns:a16="http://schemas.microsoft.com/office/drawing/2014/main" id="{BFB8AA87-1B18-AE9E-C33D-864647BC2AA6}"/>
              </a:ext>
            </a:extLst>
          </p:cNvPr>
          <p:cNvSpPr txBox="1">
            <a:spLocks/>
          </p:cNvSpPr>
          <p:nvPr userDrawn="1"/>
        </p:nvSpPr>
        <p:spPr>
          <a:xfrm>
            <a:off x="10952564" y="6204504"/>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3E19D2A3-44E2-F3C2-36E3-15B461D34AD2}"/>
              </a:ext>
              <a:ext uri="{C183D7F6-B498-43B3-948B-1728B52AA6E4}">
                <adec:decorative xmlns:adec="http://schemas.microsoft.com/office/drawing/2017/decorative" val="1"/>
              </a:ext>
            </a:extLst>
          </p:cNvPr>
          <p:cNvSpPr txBox="1"/>
          <p:nvPr userDrawn="1"/>
        </p:nvSpPr>
        <p:spPr>
          <a:xfrm>
            <a:off x="1712209" y="6204504"/>
            <a:ext cx="7960218" cy="184665"/>
          </a:xfrm>
          <a:prstGeom prst="rect">
            <a:avLst/>
          </a:prstGeom>
          <a:noFill/>
        </p:spPr>
        <p:txBody>
          <a:bodyPr wrap="square" lIns="0" tIns="0" rIns="0" bIns="0" rtlCol="0">
            <a:spAutoFit/>
          </a:bodyPr>
          <a:lstStyle/>
          <a:p>
            <a:pPr algn="l" eaLnBrk="1" hangingPunct="1"/>
            <a:r>
              <a:rPr lang="en-AU" altLang="en-US" sz="600" dirty="0">
                <a:solidFill>
                  <a:schemeClr val="bg1"/>
                </a:solidFill>
                <a:latin typeface="Arial" panose="020B0604020202020204" pitchFamily="34" charset="0"/>
              </a:rPr>
              <a:t>©2025 KPMG, an Australian partnership and a member firm of the KPMG global organisation of independent member firms affiliated with KPMG International Limited, a private English company limited by guarantee. All rights reserved. The KPMG name and logo are trademarks used under license by the independent member firms of the KPMG global organisation. </a:t>
            </a:r>
            <a:endParaRPr lang="en-AU" altLang="en-US" sz="600" b="1" dirty="0">
              <a:solidFill>
                <a:schemeClr val="bg1"/>
              </a:solidFill>
              <a:latin typeface="Arial" panose="020B0604020202020204" pitchFamily="34" charset="0"/>
            </a:endParaRPr>
          </a:p>
        </p:txBody>
      </p:sp>
      <p:cxnSp>
        <p:nvCxnSpPr>
          <p:cNvPr id="6" name="Straight Connector 5">
            <a:extLst>
              <a:ext uri="{FF2B5EF4-FFF2-40B4-BE49-F238E27FC236}">
                <a16:creationId xmlns:a16="http://schemas.microsoft.com/office/drawing/2014/main" id="{BB15602E-ABA2-0833-58D8-7577FE106012}"/>
              </a:ext>
            </a:extLst>
          </p:cNvPr>
          <p:cNvCxnSpPr>
            <a:cxnSpLocks/>
          </p:cNvCxnSpPr>
          <p:nvPr userDrawn="1"/>
        </p:nvCxnSpPr>
        <p:spPr>
          <a:xfrm>
            <a:off x="10934505" y="6204504"/>
            <a:ext cx="0" cy="149412"/>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010043D-E5AA-2844-A209-961B43A54E92}"/>
              </a:ext>
            </a:extLst>
          </p:cNvPr>
          <p:cNvSpPr/>
          <p:nvPr userDrawn="1"/>
        </p:nvSpPr>
        <p:spPr>
          <a:xfrm>
            <a:off x="1712209" y="6431336"/>
            <a:ext cx="3712555" cy="123111"/>
          </a:xfrm>
          <a:prstGeom prst="rect">
            <a:avLst/>
          </a:prstGeom>
        </p:spPr>
        <p:txBody>
          <a:bodyPr wrap="none" lIns="0" tIns="0" rIns="0" bIns="0">
            <a:spAutoFit/>
          </a:bodyPr>
          <a:lstStyle/>
          <a:p>
            <a:pPr algn="l"/>
            <a:r>
              <a:rPr lang="en-AU" altLang="en-US" sz="800" dirty="0">
                <a:solidFill>
                  <a:schemeClr val="bg1"/>
                </a:solidFill>
                <a:latin typeface="Arial" panose="020B0604020202020204" pitchFamily="34" charset="0"/>
              </a:rPr>
              <a:t>Liability limited by a scheme approved under Professional Standards Legislation.</a:t>
            </a:r>
            <a:r>
              <a:rPr lang="en-AU" altLang="en-US" sz="800" baseline="0" dirty="0">
                <a:solidFill>
                  <a:schemeClr val="bg1"/>
                </a:solidFill>
                <a:latin typeface="Arial" panose="020B0604020202020204" pitchFamily="34" charset="0"/>
              </a:rPr>
              <a:t> </a:t>
            </a:r>
            <a:endParaRPr lang="en-AU" sz="1984" dirty="0">
              <a:solidFill>
                <a:schemeClr val="bg1"/>
              </a:solidFill>
            </a:endParaRPr>
          </a:p>
        </p:txBody>
      </p:sp>
      <p:sp>
        <p:nvSpPr>
          <p:cNvPr id="8" name="TextBox 7">
            <a:extLst>
              <a:ext uri="{FF2B5EF4-FFF2-40B4-BE49-F238E27FC236}">
                <a16:creationId xmlns:a16="http://schemas.microsoft.com/office/drawing/2014/main" id="{B07D9AAA-13D3-86B8-5DF4-A60B6F023557}"/>
              </a:ext>
            </a:extLst>
          </p:cNvPr>
          <p:cNvSpPr txBox="1"/>
          <p:nvPr userDrawn="1">
            <p:custDataLst>
              <p:tags r:id="rId1"/>
            </p:custDataLst>
          </p:nvPr>
        </p:nvSpPr>
        <p:spPr>
          <a:xfrm>
            <a:off x="6150832" y="6296487"/>
            <a:ext cx="3600000"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dirty="0">
              <a:solidFill>
                <a:schemeClr val="bg1"/>
              </a:solidFill>
              <a:latin typeface="+mn-lt"/>
              <a:ea typeface="+mn-ea"/>
              <a:cs typeface="+mn-cs"/>
            </a:endParaRPr>
          </a:p>
        </p:txBody>
      </p:sp>
    </p:spTree>
    <p:extLst>
      <p:ext uri="{BB962C8B-B14F-4D97-AF65-F5344CB8AC3E}">
        <p14:creationId xmlns:p14="http://schemas.microsoft.com/office/powerpoint/2010/main" val="37217297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3936791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pic>
        <p:nvPicPr>
          <p:cNvPr id="10" name="Graphic 9">
            <a:extLst>
              <a:ext uri="{FF2B5EF4-FFF2-40B4-BE49-F238E27FC236}">
                <a16:creationId xmlns:a16="http://schemas.microsoft.com/office/drawing/2014/main" id="{78DFFAD0-690D-40FA-92E3-26DD5F2CF7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6557563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dirty="0"/>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21364129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endParaRPr lang="en-US" dirty="0"/>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38726520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DB5F44-C2B8-DF9B-FB2E-C14B7C5B09E7}"/>
              </a:ext>
            </a:extLst>
          </p:cNvPr>
          <p:cNvPicPr>
            <a:picLocks noChangeAspect="1"/>
          </p:cNvPicPr>
          <p:nvPr userDrawn="1"/>
        </p:nvPicPr>
        <p:blipFill rotWithShape="1">
          <a:blip r:embed="rId2"/>
          <a:srcRect t="21907" r="25653" b="15362"/>
          <a:stretch/>
        </p:blipFill>
        <p:spPr>
          <a:xfrm>
            <a:off x="1" y="1"/>
            <a:ext cx="12192000" cy="6857820"/>
          </a:xfrm>
          <a:prstGeom prst="rect">
            <a:avLst/>
          </a:prstGeom>
        </p:spPr>
      </p:pic>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27198390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5">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4E5A5F-293B-5B70-76F8-B00F66EC187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46"/>
          <a:stretch/>
        </p:blipFill>
        <p:spPr>
          <a:xfrm>
            <a:off x="1" y="1"/>
            <a:ext cx="12195354" cy="6857999"/>
          </a:xfrm>
          <a:prstGeom prst="rect">
            <a:avLst/>
          </a:prstGeom>
        </p:spPr>
      </p:pic>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7634395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6">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44B00D0-987D-B455-FD04-6DBC352F634D}"/>
              </a:ext>
            </a:extLst>
          </p:cNvPr>
          <p:cNvGrpSpPr/>
          <p:nvPr userDrawn="1"/>
        </p:nvGrpSpPr>
        <p:grpSpPr>
          <a:xfrm>
            <a:off x="1" y="-1"/>
            <a:ext cx="12192000" cy="6857821"/>
            <a:chOff x="0" y="-1"/>
            <a:chExt cx="13439775" cy="7559676"/>
          </a:xfrm>
        </p:grpSpPr>
        <p:pic>
          <p:nvPicPr>
            <p:cNvPr id="3" name="Picture 2">
              <a:extLst>
                <a:ext uri="{FF2B5EF4-FFF2-40B4-BE49-F238E27FC236}">
                  <a16:creationId xmlns:a16="http://schemas.microsoft.com/office/drawing/2014/main" id="{BF3B9475-7693-8DA6-F838-2A6812EB070D}"/>
                </a:ext>
              </a:extLst>
            </p:cNvPr>
            <p:cNvPicPr>
              <a:picLocks/>
            </p:cNvPicPr>
            <p:nvPr userDrawn="1"/>
          </p:nvPicPr>
          <p:blipFill rotWithShape="1">
            <a:blip r:embed="rId2"/>
            <a:srcRect l="16985" t="14650" b="15031"/>
            <a:stretch/>
          </p:blipFill>
          <p:spPr>
            <a:xfrm flipH="1">
              <a:off x="0" y="-1"/>
              <a:ext cx="13439775" cy="7559676"/>
            </a:xfrm>
            <a:prstGeom prst="rect">
              <a:avLst/>
            </a:prstGeom>
          </p:spPr>
        </p:pic>
        <p:sp>
          <p:nvSpPr>
            <p:cNvPr id="5" name="Rectangle 4">
              <a:extLst>
                <a:ext uri="{FF2B5EF4-FFF2-40B4-BE49-F238E27FC236}">
                  <a16:creationId xmlns:a16="http://schemas.microsoft.com/office/drawing/2014/main" id="{C6969E85-1FC1-125D-F072-B5876B466C7B}"/>
                </a:ext>
              </a:extLst>
            </p:cNvPr>
            <p:cNvSpPr/>
            <p:nvPr userDrawn="1"/>
          </p:nvSpPr>
          <p:spPr>
            <a:xfrm>
              <a:off x="0" y="0"/>
              <a:ext cx="13439775" cy="7559675"/>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6600" dirty="0" err="1">
                <a:solidFill>
                  <a:schemeClr val="bg1"/>
                </a:solidFill>
              </a:endParaRPr>
            </a:p>
          </p:txBody>
        </p:sp>
      </p:gr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39100486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Confidential</a:t>
            </a:r>
            <a:endParaRPr lang="en-GB" sz="900" b="1" kern="1200" noProof="0" dirty="0">
              <a:solidFill>
                <a:schemeClr val="bg1"/>
              </a:solidFill>
              <a:latin typeface="+mn-lt"/>
              <a:ea typeface="+mn-ea"/>
              <a:cs typeface="+mn-cs"/>
            </a:endParaRP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1" y="3702050"/>
            <a:ext cx="8073965" cy="1843088"/>
          </a:xfrm>
        </p:spPr>
        <p:txBody>
          <a:bodyPr anchor="b"/>
          <a:lstStyle>
            <a:lvl1pPr>
              <a:spcAft>
                <a:spcPts val="1000"/>
              </a:spcAft>
              <a:defRPr sz="800" b="0">
                <a:solidFill>
                  <a:schemeClr val="bg1"/>
                </a:solidFill>
              </a:defRPr>
            </a:lvl1pPr>
            <a:lvl2pPr>
              <a:spcAft>
                <a:spcPts val="1000"/>
              </a:spcAft>
              <a:defRPr sz="800" b="0">
                <a:solidFill>
                  <a:schemeClr val="bg1"/>
                </a:solidFill>
              </a:defRPr>
            </a:lvl2pPr>
          </a:lstStyle>
          <a:p>
            <a:pPr lvl="0"/>
            <a:r>
              <a:rPr lang="en-US"/>
              <a:t>Click to edit Master text styles</a:t>
            </a:r>
          </a:p>
          <a:p>
            <a:pPr lvl="1"/>
            <a:r>
              <a:rPr lang="en-US"/>
              <a:t>Second level</a:t>
            </a:r>
          </a:p>
        </p:txBody>
      </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pic>
        <p:nvPicPr>
          <p:cNvPr id="5" name="Picture 4">
            <a:extLst>
              <a:ext uri="{FF2B5EF4-FFF2-40B4-BE49-F238E27FC236}">
                <a16:creationId xmlns:a16="http://schemas.microsoft.com/office/drawing/2014/main" id="{DD677535-D369-4B67-CA9D-933F3511246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9502" t="9633"/>
          <a:stretch/>
        </p:blipFill>
        <p:spPr>
          <a:xfrm>
            <a:off x="969437" y="3067708"/>
            <a:ext cx="1795949" cy="385888"/>
          </a:xfrm>
          <a:prstGeom prst="rect">
            <a:avLst/>
          </a:prstGeom>
        </p:spPr>
      </p:pic>
      <p:sp>
        <p:nvSpPr>
          <p:cNvPr id="7" name="Rectangle 6">
            <a:hlinkClick r:id="rId6"/>
            <a:extLst>
              <a:ext uri="{FF2B5EF4-FFF2-40B4-BE49-F238E27FC236}">
                <a16:creationId xmlns:a16="http://schemas.microsoft.com/office/drawing/2014/main" id="{72867F2A-862A-986A-11C4-5DE53E4FCE62}"/>
              </a:ext>
            </a:extLst>
          </p:cNvPr>
          <p:cNvSpPr/>
          <p:nvPr userDrawn="1"/>
        </p:nvSpPr>
        <p:spPr>
          <a:xfrm>
            <a:off x="945912" y="3057049"/>
            <a:ext cx="435081" cy="415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dirty="0">
              <a:solidFill>
                <a:schemeClr val="bg1"/>
              </a:solidFill>
            </a:endParaRPr>
          </a:p>
        </p:txBody>
      </p:sp>
      <p:sp>
        <p:nvSpPr>
          <p:cNvPr id="8" name="Rectangle 7">
            <a:hlinkClick r:id="rId7"/>
            <a:extLst>
              <a:ext uri="{FF2B5EF4-FFF2-40B4-BE49-F238E27FC236}">
                <a16:creationId xmlns:a16="http://schemas.microsoft.com/office/drawing/2014/main" id="{A2DDBC78-6F21-B516-CA8D-B3ABF792DAE3}"/>
              </a:ext>
            </a:extLst>
          </p:cNvPr>
          <p:cNvSpPr/>
          <p:nvPr userDrawn="1"/>
        </p:nvSpPr>
        <p:spPr>
          <a:xfrm>
            <a:off x="1432331" y="3057695"/>
            <a:ext cx="435081" cy="415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dirty="0">
              <a:solidFill>
                <a:schemeClr val="bg1"/>
              </a:solidFill>
            </a:endParaRPr>
          </a:p>
        </p:txBody>
      </p:sp>
      <p:sp>
        <p:nvSpPr>
          <p:cNvPr id="19" name="Rectangle 18">
            <a:hlinkClick r:id="rId8"/>
            <a:extLst>
              <a:ext uri="{FF2B5EF4-FFF2-40B4-BE49-F238E27FC236}">
                <a16:creationId xmlns:a16="http://schemas.microsoft.com/office/drawing/2014/main" id="{E48912DF-2EE0-F641-793C-A76BA3FC4E29}"/>
              </a:ext>
            </a:extLst>
          </p:cNvPr>
          <p:cNvSpPr/>
          <p:nvPr userDrawn="1"/>
        </p:nvSpPr>
        <p:spPr>
          <a:xfrm>
            <a:off x="1923038" y="3031958"/>
            <a:ext cx="338900" cy="46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dirty="0">
              <a:solidFill>
                <a:schemeClr val="bg1"/>
              </a:solidFill>
            </a:endParaRPr>
          </a:p>
        </p:txBody>
      </p:sp>
      <p:sp>
        <p:nvSpPr>
          <p:cNvPr id="20" name="Rectangle 19">
            <a:hlinkClick r:id="rId9"/>
            <a:extLst>
              <a:ext uri="{FF2B5EF4-FFF2-40B4-BE49-F238E27FC236}">
                <a16:creationId xmlns:a16="http://schemas.microsoft.com/office/drawing/2014/main" id="{BDE43763-20C1-2EBD-84E1-3CB764C26633}"/>
              </a:ext>
            </a:extLst>
          </p:cNvPr>
          <p:cNvSpPr/>
          <p:nvPr userDrawn="1"/>
        </p:nvSpPr>
        <p:spPr>
          <a:xfrm>
            <a:off x="2390274" y="3051666"/>
            <a:ext cx="402925" cy="415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dirty="0">
              <a:solidFill>
                <a:schemeClr val="bg1"/>
              </a:solidFill>
            </a:endParaRPr>
          </a:p>
        </p:txBody>
      </p:sp>
      <p:sp>
        <p:nvSpPr>
          <p:cNvPr id="21" name="Rectangle 20">
            <a:hlinkClick r:id="rId10"/>
            <a:extLst>
              <a:ext uri="{FF2B5EF4-FFF2-40B4-BE49-F238E27FC236}">
                <a16:creationId xmlns:a16="http://schemas.microsoft.com/office/drawing/2014/main" id="{25857729-2C69-5113-25FC-2022577E207D}"/>
              </a:ext>
            </a:extLst>
          </p:cNvPr>
          <p:cNvSpPr>
            <a:spLocks noChangeArrowheads="1"/>
          </p:cNvSpPr>
          <p:nvPr userDrawn="1"/>
        </p:nvSpPr>
        <p:spPr bwMode="auto">
          <a:xfrm>
            <a:off x="988641" y="2775586"/>
            <a:ext cx="1265972" cy="153888"/>
          </a:xfrm>
          <a:prstGeom prst="rect">
            <a:avLst/>
          </a:prstGeom>
          <a:noFill/>
          <a:ln w="9525">
            <a:noFill/>
            <a:miter lim="800000"/>
            <a:headEnd/>
            <a:tailEnd/>
          </a:ln>
          <a:effectLst/>
        </p:spPr>
        <p:txBody>
          <a:bodyPr wrap="square" lIns="0" tIns="0" rIns="0" bIns="0" anchor="ctr">
            <a:spAutoFit/>
          </a:bodyPr>
          <a:lstStyle>
            <a:defPPr>
              <a:defRPr lang="en-US"/>
            </a:defPPr>
            <a:lvl1pPr marL="0" algn="l" defTabSz="995507" rtl="0" eaLnBrk="1" latinLnBrk="0" hangingPunct="1">
              <a:defRPr sz="1960" kern="1200">
                <a:solidFill>
                  <a:schemeClr val="tx1"/>
                </a:solidFill>
                <a:latin typeface="+mn-lt"/>
                <a:ea typeface="+mn-ea"/>
                <a:cs typeface="+mn-cs"/>
              </a:defRPr>
            </a:lvl1pPr>
            <a:lvl2pPr marL="497754" algn="l" defTabSz="995507" rtl="0" eaLnBrk="1" latinLnBrk="0" hangingPunct="1">
              <a:defRPr sz="1960" kern="1200">
                <a:solidFill>
                  <a:schemeClr val="tx1"/>
                </a:solidFill>
                <a:latin typeface="+mn-lt"/>
                <a:ea typeface="+mn-ea"/>
                <a:cs typeface="+mn-cs"/>
              </a:defRPr>
            </a:lvl2pPr>
            <a:lvl3pPr marL="995507" algn="l" defTabSz="995507" rtl="0" eaLnBrk="1" latinLnBrk="0" hangingPunct="1">
              <a:defRPr sz="1960" kern="1200">
                <a:solidFill>
                  <a:schemeClr val="tx1"/>
                </a:solidFill>
                <a:latin typeface="+mn-lt"/>
                <a:ea typeface="+mn-ea"/>
                <a:cs typeface="+mn-cs"/>
              </a:defRPr>
            </a:lvl3pPr>
            <a:lvl4pPr marL="1493261" algn="l" defTabSz="995507" rtl="0" eaLnBrk="1" latinLnBrk="0" hangingPunct="1">
              <a:defRPr sz="1960" kern="1200">
                <a:solidFill>
                  <a:schemeClr val="tx1"/>
                </a:solidFill>
                <a:latin typeface="+mn-lt"/>
                <a:ea typeface="+mn-ea"/>
                <a:cs typeface="+mn-cs"/>
              </a:defRPr>
            </a:lvl4pPr>
            <a:lvl5pPr marL="1991015" algn="l" defTabSz="995507" rtl="0" eaLnBrk="1" latinLnBrk="0" hangingPunct="1">
              <a:defRPr sz="1960" kern="1200">
                <a:solidFill>
                  <a:schemeClr val="tx1"/>
                </a:solidFill>
                <a:latin typeface="+mn-lt"/>
                <a:ea typeface="+mn-ea"/>
                <a:cs typeface="+mn-cs"/>
              </a:defRPr>
            </a:lvl5pPr>
            <a:lvl6pPr marL="2488768" algn="l" defTabSz="995507" rtl="0" eaLnBrk="1" latinLnBrk="0" hangingPunct="1">
              <a:defRPr sz="1960" kern="1200">
                <a:solidFill>
                  <a:schemeClr val="tx1"/>
                </a:solidFill>
                <a:latin typeface="+mn-lt"/>
                <a:ea typeface="+mn-ea"/>
                <a:cs typeface="+mn-cs"/>
              </a:defRPr>
            </a:lvl6pPr>
            <a:lvl7pPr marL="2986522" algn="l" defTabSz="995507" rtl="0" eaLnBrk="1" latinLnBrk="0" hangingPunct="1">
              <a:defRPr sz="1960" kern="1200">
                <a:solidFill>
                  <a:schemeClr val="tx1"/>
                </a:solidFill>
                <a:latin typeface="+mn-lt"/>
                <a:ea typeface="+mn-ea"/>
                <a:cs typeface="+mn-cs"/>
              </a:defRPr>
            </a:lvl7pPr>
            <a:lvl8pPr marL="3484275" algn="l" defTabSz="995507" rtl="0" eaLnBrk="1" latinLnBrk="0" hangingPunct="1">
              <a:defRPr sz="1960" kern="1200">
                <a:solidFill>
                  <a:schemeClr val="tx1"/>
                </a:solidFill>
                <a:latin typeface="+mn-lt"/>
                <a:ea typeface="+mn-ea"/>
                <a:cs typeface="+mn-cs"/>
              </a:defRPr>
            </a:lvl8pPr>
            <a:lvl9pPr marL="3982029" algn="l" defTabSz="995507" rtl="0" eaLnBrk="1" latinLnBrk="0" hangingPunct="1">
              <a:defRPr sz="1960" kern="1200">
                <a:solidFill>
                  <a:schemeClr val="tx1"/>
                </a:solidFill>
                <a:latin typeface="+mn-lt"/>
                <a:ea typeface="+mn-ea"/>
                <a:cs typeface="+mn-cs"/>
              </a:defRPr>
            </a:lvl9pPr>
          </a:lstStyle>
          <a:p>
            <a:pPr>
              <a:defRPr/>
            </a:pPr>
            <a:r>
              <a:rPr lang="en-GB" sz="1000" b="1" i="0" kern="0" dirty="0">
                <a:solidFill>
                  <a:schemeClr val="bg1"/>
                </a:solidFill>
                <a:latin typeface="Arial" panose="020B0604020202020204" pitchFamily="34" charset="0"/>
                <a:cs typeface="Arial" panose="020B0604020202020204" pitchFamily="34" charset="0"/>
              </a:rPr>
              <a:t>KPMG.com.au</a:t>
            </a:r>
          </a:p>
        </p:txBody>
      </p:sp>
      <p:sp>
        <p:nvSpPr>
          <p:cNvPr id="22" name="Rectangle 21">
            <a:hlinkClick r:id="rId11"/>
            <a:extLst>
              <a:ext uri="{FF2B5EF4-FFF2-40B4-BE49-F238E27FC236}">
                <a16:creationId xmlns:a16="http://schemas.microsoft.com/office/drawing/2014/main" id="{BE61E36F-BFC2-2F77-8316-608C66A5E3D1}"/>
              </a:ext>
            </a:extLst>
          </p:cNvPr>
          <p:cNvSpPr/>
          <p:nvPr userDrawn="1"/>
        </p:nvSpPr>
        <p:spPr>
          <a:xfrm>
            <a:off x="918320" y="2712833"/>
            <a:ext cx="1485030" cy="248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dirty="0">
              <a:solidFill>
                <a:schemeClr val="bg1"/>
              </a:solidFill>
            </a:endParaRPr>
          </a:p>
        </p:txBody>
      </p:sp>
    </p:spTree>
    <p:extLst>
      <p:ext uri="{BB962C8B-B14F-4D97-AF65-F5344CB8AC3E}">
        <p14:creationId xmlns:p14="http://schemas.microsoft.com/office/powerpoint/2010/main" val="3831901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dirty="0"/>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Primary </a:t>
            </a:r>
            <a:r>
              <a:rPr lang="en-US" sz="1000" b="1" dirty="0" err="1">
                <a:solidFill>
                  <a:sysClr val="windowText" lastClr="000000"/>
                </a:solidFill>
              </a:rPr>
              <a:t>colours</a:t>
            </a:r>
            <a:endParaRPr lang="en-US" sz="1000" b="1" dirty="0">
              <a:solidFill>
                <a:sysClr val="windowText" lastClr="000000"/>
              </a:solidFill>
            </a:endParaRP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dirty="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Accent </a:t>
            </a:r>
            <a:r>
              <a:rPr lang="en-US" sz="1000" b="1" dirty="0" err="1">
                <a:solidFill>
                  <a:sysClr val="windowText" lastClr="000000"/>
                </a:solidFill>
              </a:rPr>
              <a:t>colours</a:t>
            </a:r>
            <a:r>
              <a:rPr lang="en-US" sz="1000" b="1" dirty="0">
                <a:solidFill>
                  <a:sysClr val="windowText" lastClr="000000"/>
                </a:solidFill>
              </a:rPr>
              <a:t>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dirty="0"/>
              <a:t>Purple/</a:t>
            </a:r>
            <a:br>
              <a:rPr lang="en-GB" sz="1000" dirty="0"/>
            </a:br>
            <a:r>
              <a:rPr lang="en-GB" sz="10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dirty="0"/>
              <a:t>Pacific/</a:t>
            </a:r>
            <a:br>
              <a:rPr lang="en-GB" sz="1000" dirty="0"/>
            </a:br>
            <a:r>
              <a:rPr lang="en-GB" sz="10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dirty="0">
                <a:solidFill>
                  <a:sysClr val="windowText" lastClr="000000"/>
                </a:solidFill>
              </a:rPr>
              <a:t>Gradients</a:t>
            </a:r>
          </a:p>
          <a:p>
            <a:pPr marL="171450" indent="-171450" algn="l">
              <a:spcAft>
                <a:spcPts val="300"/>
              </a:spcAft>
              <a:buFont typeface="Arial" panose="020B0604020202020204" pitchFamily="34" charset="0"/>
              <a:buChar char="•"/>
            </a:pPr>
            <a:r>
              <a:rPr lang="en-GB" sz="1000" b="0" dirty="0">
                <a:solidFill>
                  <a:sysClr val="windowText" lastClr="000000"/>
                </a:solidFill>
              </a:rPr>
              <a:t>The colours are applied at both ends of the gradient, at 0% and 100% locations</a:t>
            </a:r>
          </a:p>
          <a:p>
            <a:pPr marL="171450" indent="-171450" algn="l">
              <a:spcAft>
                <a:spcPts val="300"/>
              </a:spcAft>
              <a:buFont typeface="Arial" panose="020B0604020202020204" pitchFamily="34" charset="0"/>
              <a:buChar char="•"/>
            </a:pPr>
            <a:r>
              <a:rPr lang="en-GB" sz="1000" b="0" dirty="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dirty="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dirty="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dirty="0">
                <a:solidFill>
                  <a:sysClr val="windowText" lastClr="000000"/>
                </a:solidFill>
              </a:rPr>
              <a:t>Do not create new gradients; use only the gradients shown here</a:t>
            </a:r>
            <a:endParaRPr lang="en-US" sz="1000" b="0" dirty="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dirty="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dirty="0">
                <a:solidFill>
                  <a:sysClr val="windowText" lastClr="000000"/>
                </a:solidFill>
              </a:rPr>
              <a:t>Traffic Light Palette</a:t>
            </a:r>
            <a:endParaRPr lang="en-US" sz="1000" b="0" dirty="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8</a:t>
            </a:r>
          </a:p>
          <a:p>
            <a:pPr algn="ctr"/>
            <a:r>
              <a:rPr lang="en-GB" sz="800" dirty="0">
                <a:solidFill>
                  <a:schemeClr val="bg1"/>
                </a:solidFill>
              </a:rPr>
              <a:t>153</a:t>
            </a:r>
          </a:p>
          <a:p>
            <a:pPr algn="ctr"/>
            <a:r>
              <a:rPr lang="en-GB" sz="800" dirty="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41</a:t>
            </a:r>
          </a:p>
          <a:p>
            <a:pPr algn="ctr"/>
            <a:r>
              <a:rPr lang="en-GB" sz="800" dirty="0">
                <a:solidFill>
                  <a:schemeClr val="bg1"/>
                </a:solidFill>
              </a:rPr>
              <a:t>196</a:t>
            </a:r>
          </a:p>
          <a:p>
            <a:pPr algn="ctr"/>
            <a:r>
              <a:rPr lang="en-GB" sz="800" dirty="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37</a:t>
            </a:r>
          </a:p>
          <a:p>
            <a:pPr algn="ctr"/>
            <a:r>
              <a:rPr lang="en-GB" sz="800" dirty="0">
                <a:solidFill>
                  <a:schemeClr val="bg1"/>
                </a:solidFill>
              </a:rPr>
              <a:t>33</a:t>
            </a:r>
          </a:p>
          <a:p>
            <a:pPr algn="ctr"/>
            <a:r>
              <a:rPr lang="en-GB" sz="800" dirty="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dirty="0">
                <a:solidFill>
                  <a:sysClr val="windowText" lastClr="000000"/>
                </a:solidFill>
              </a:rPr>
              <a:t>Potential chart </a:t>
            </a:r>
            <a:r>
              <a:rPr lang="en-US" sz="1000" b="1" dirty="0" err="1">
                <a:solidFill>
                  <a:sysClr val="windowText" lastClr="000000"/>
                </a:solidFill>
              </a:rPr>
              <a:t>colour</a:t>
            </a:r>
            <a:r>
              <a:rPr lang="en-US" sz="1000" b="1" dirty="0">
                <a:solidFill>
                  <a:sysClr val="windowText" lastClr="000000"/>
                </a:solidFill>
              </a:rPr>
              <a:t> order</a:t>
            </a:r>
          </a:p>
          <a:p>
            <a:pPr marL="171450" indent="-171450" algn="l">
              <a:spcAft>
                <a:spcPts val="300"/>
              </a:spcAft>
              <a:buFont typeface="Arial" panose="020B0604020202020204" pitchFamily="34" charset="0"/>
              <a:buChar char="•"/>
            </a:pPr>
            <a:r>
              <a:rPr lang="en-US" sz="1000" b="0" dirty="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dirty="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5</a:t>
              </a:r>
            </a:p>
            <a:p>
              <a:pPr algn="ctr"/>
              <a:r>
                <a:rPr lang="en-GB" sz="800" dirty="0">
                  <a:solidFill>
                    <a:schemeClr val="bg1"/>
                  </a:solidFill>
                </a:rPr>
                <a:t>163</a:t>
              </a:r>
            </a:p>
            <a:p>
              <a:pPr algn="ctr"/>
              <a:r>
                <a:rPr lang="en-GB" sz="800" dirty="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99</a:t>
              </a:r>
            </a:p>
            <a:p>
              <a:pPr algn="ctr"/>
              <a:r>
                <a:rPr lang="en-GB" sz="800" dirty="0">
                  <a:solidFill>
                    <a:sysClr val="windowText" lastClr="000000"/>
                  </a:solidFill>
                </a:rPr>
                <a:t>235</a:t>
              </a:r>
            </a:p>
            <a:p>
              <a:pPr algn="ctr"/>
              <a:r>
                <a:rPr lang="en-GB" sz="800" dirty="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grpSp>
    </p:spTree>
    <p:extLst>
      <p:ext uri="{BB962C8B-B14F-4D97-AF65-F5344CB8AC3E}">
        <p14:creationId xmlns:p14="http://schemas.microsoft.com/office/powerpoint/2010/main" val="16423865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chemeClr val="bg1"/>
                </a:solidFill>
                <a:latin typeface="KPMG Bold"/>
                <a:cs typeface="KPMG Bold"/>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600" b="0" i="0">
                <a:solidFill>
                  <a:srgbClr val="B2B2B2"/>
                </a:solidFill>
                <a:latin typeface="Univers LT Std"/>
                <a:cs typeface="Univers LT Std"/>
              </a:defRPr>
            </a:lvl1pPr>
          </a:lstStyle>
          <a:p>
            <a:pPr marL="12700" marR="5080">
              <a:lnSpc>
                <a:spcPct val="100000"/>
              </a:lnSpc>
              <a:spcBef>
                <a:spcPts val="70"/>
              </a:spcBef>
            </a:pPr>
            <a:r>
              <a:rPr>
                <a:solidFill>
                  <a:srgbClr val="FFFFFF"/>
                </a:solidFill>
              </a:rPr>
              <a:t>©2024 KPMG, </a:t>
            </a:r>
            <a:r>
              <a:rPr spc="-10">
                <a:solidFill>
                  <a:srgbClr val="FFFFFF"/>
                </a:solidFill>
              </a:rPr>
              <a:t>an Australian </a:t>
            </a:r>
            <a:r>
              <a:rPr spc="-5">
                <a:solidFill>
                  <a:srgbClr val="FFFFFF"/>
                </a:solidFill>
              </a:rPr>
              <a:t>partnership and a </a:t>
            </a:r>
            <a:r>
              <a:rPr spc="-10">
                <a:solidFill>
                  <a:srgbClr val="FFFFFF"/>
                </a:solidFill>
              </a:rPr>
              <a:t>member </a:t>
            </a:r>
            <a:r>
              <a:rPr spc="-5">
                <a:solidFill>
                  <a:srgbClr val="FFFFFF"/>
                </a:solidFill>
              </a:rPr>
              <a:t>firm </a:t>
            </a:r>
            <a:r>
              <a:rPr spc="-10">
                <a:solidFill>
                  <a:srgbClr val="FFFFFF"/>
                </a:solidFill>
              </a:rPr>
              <a:t>of the </a:t>
            </a:r>
            <a:r>
              <a:rPr>
                <a:solidFill>
                  <a:srgbClr val="FFFFFF"/>
                </a:solidFill>
              </a:rPr>
              <a:t>KPMG </a:t>
            </a:r>
            <a:r>
              <a:rPr spc="-5">
                <a:solidFill>
                  <a:srgbClr val="FFFFFF"/>
                </a:solidFill>
              </a:rPr>
              <a:t>global </a:t>
            </a:r>
            <a:r>
              <a:rPr spc="-10">
                <a:solidFill>
                  <a:srgbClr val="FFFFFF"/>
                </a:solidFill>
              </a:rPr>
              <a:t>organisation of </a:t>
            </a:r>
            <a:r>
              <a:rPr spc="-5">
                <a:solidFill>
                  <a:srgbClr val="FFFFFF"/>
                </a:solidFill>
              </a:rPr>
              <a:t>independent </a:t>
            </a:r>
            <a:r>
              <a:rPr spc="-10">
                <a:solidFill>
                  <a:srgbClr val="FFFFFF"/>
                </a:solidFill>
              </a:rPr>
              <a:t>member </a:t>
            </a:r>
            <a:r>
              <a:rPr spc="-5">
                <a:solidFill>
                  <a:srgbClr val="FFFFFF"/>
                </a:solidFill>
              </a:rPr>
              <a:t>firms affiliated with </a:t>
            </a:r>
            <a:r>
              <a:rPr>
                <a:solidFill>
                  <a:srgbClr val="FFFFFF"/>
                </a:solidFill>
              </a:rPr>
              <a:t>KPMG </a:t>
            </a:r>
            <a:r>
              <a:rPr spc="-10">
                <a:solidFill>
                  <a:srgbClr val="FFFFFF"/>
                </a:solidFill>
              </a:rPr>
              <a:t>International </a:t>
            </a:r>
            <a:r>
              <a:rPr spc="-5">
                <a:solidFill>
                  <a:srgbClr val="FFFFFF"/>
                </a:solidFill>
              </a:rPr>
              <a:t>Limited, a private </a:t>
            </a:r>
            <a:r>
              <a:rPr spc="-10">
                <a:solidFill>
                  <a:srgbClr val="FFFFFF"/>
                </a:solidFill>
              </a:rPr>
              <a:t>English </a:t>
            </a:r>
            <a:r>
              <a:rPr spc="-5">
                <a:solidFill>
                  <a:srgbClr val="FFFFFF"/>
                </a:solidFill>
              </a:rPr>
              <a:t>company </a:t>
            </a:r>
            <a:r>
              <a:rPr spc="-10">
                <a:solidFill>
                  <a:srgbClr val="FFFFFF"/>
                </a:solidFill>
              </a:rPr>
              <a:t>limited by guarantee. </a:t>
            </a:r>
            <a:r>
              <a:rPr spc="-5">
                <a:solidFill>
                  <a:srgbClr val="FFFFFF"/>
                </a:solidFill>
              </a:rPr>
              <a:t>All rights reserved.  The</a:t>
            </a:r>
            <a:r>
              <a:rPr spc="-30">
                <a:solidFill>
                  <a:srgbClr val="FFFFFF"/>
                </a:solidFill>
              </a:rPr>
              <a:t> </a:t>
            </a:r>
            <a:r>
              <a:rPr>
                <a:solidFill>
                  <a:srgbClr val="FFFFFF"/>
                </a:solidFill>
              </a:rPr>
              <a:t>KPMG</a:t>
            </a:r>
            <a:r>
              <a:rPr spc="-30">
                <a:solidFill>
                  <a:srgbClr val="FFFFFF"/>
                </a:solidFill>
              </a:rPr>
              <a:t> </a:t>
            </a:r>
            <a:r>
              <a:rPr spc="-10">
                <a:solidFill>
                  <a:srgbClr val="FFFFFF"/>
                </a:solidFill>
              </a:rPr>
              <a:t>name</a:t>
            </a:r>
            <a:r>
              <a:rPr spc="-30">
                <a:solidFill>
                  <a:srgbClr val="FFFFFF"/>
                </a:solidFill>
              </a:rPr>
              <a:t> </a:t>
            </a:r>
            <a:r>
              <a:rPr spc="-5">
                <a:solidFill>
                  <a:srgbClr val="FFFFFF"/>
                </a:solidFill>
              </a:rPr>
              <a:t>and</a:t>
            </a:r>
            <a:r>
              <a:rPr spc="-30">
                <a:solidFill>
                  <a:srgbClr val="FFFFFF"/>
                </a:solidFill>
              </a:rPr>
              <a:t> </a:t>
            </a:r>
            <a:r>
              <a:rPr spc="-5">
                <a:solidFill>
                  <a:srgbClr val="FFFFFF"/>
                </a:solidFill>
              </a:rPr>
              <a:t>logo</a:t>
            </a:r>
            <a:r>
              <a:rPr spc="-30">
                <a:solidFill>
                  <a:srgbClr val="FFFFFF"/>
                </a:solidFill>
              </a:rPr>
              <a:t> </a:t>
            </a:r>
            <a:r>
              <a:rPr spc="-10">
                <a:solidFill>
                  <a:srgbClr val="FFFFFF"/>
                </a:solidFill>
              </a:rPr>
              <a:t>are</a:t>
            </a:r>
            <a:r>
              <a:rPr spc="-30">
                <a:solidFill>
                  <a:srgbClr val="FFFFFF"/>
                </a:solidFill>
              </a:rPr>
              <a:t> </a:t>
            </a:r>
            <a:r>
              <a:rPr spc="-5">
                <a:solidFill>
                  <a:srgbClr val="FFFFFF"/>
                </a:solidFill>
              </a:rPr>
              <a:t>trademarks</a:t>
            </a:r>
            <a:r>
              <a:rPr spc="-25">
                <a:solidFill>
                  <a:srgbClr val="FFFFFF"/>
                </a:solidFill>
              </a:rPr>
              <a:t> </a:t>
            </a:r>
            <a:r>
              <a:rPr spc="-10">
                <a:solidFill>
                  <a:srgbClr val="FFFFFF"/>
                </a:solidFill>
              </a:rPr>
              <a:t>used</a:t>
            </a:r>
            <a:r>
              <a:rPr spc="-30">
                <a:solidFill>
                  <a:srgbClr val="FFFFFF"/>
                </a:solidFill>
              </a:rPr>
              <a:t> </a:t>
            </a:r>
            <a:r>
              <a:rPr spc="-5">
                <a:solidFill>
                  <a:srgbClr val="FFFFFF"/>
                </a:solidFill>
              </a:rPr>
              <a:t>under</a:t>
            </a:r>
            <a:r>
              <a:rPr spc="-30">
                <a:solidFill>
                  <a:srgbClr val="FFFFFF"/>
                </a:solidFill>
              </a:rPr>
              <a:t> </a:t>
            </a:r>
            <a:r>
              <a:rPr spc="-10">
                <a:solidFill>
                  <a:srgbClr val="FFFFFF"/>
                </a:solidFill>
              </a:rPr>
              <a:t>license</a:t>
            </a:r>
            <a:r>
              <a:rPr spc="-30">
                <a:solidFill>
                  <a:srgbClr val="FFFFFF"/>
                </a:solidFill>
              </a:rPr>
              <a:t> </a:t>
            </a:r>
            <a:r>
              <a:rPr spc="-10">
                <a:solidFill>
                  <a:srgbClr val="FFFFFF"/>
                </a:solidFill>
              </a:rPr>
              <a:t>by</a:t>
            </a:r>
            <a:r>
              <a:rPr spc="-30">
                <a:solidFill>
                  <a:srgbClr val="FFFFFF"/>
                </a:solidFill>
              </a:rPr>
              <a:t> </a:t>
            </a:r>
            <a:r>
              <a:rPr spc="-10">
                <a:solidFill>
                  <a:srgbClr val="FFFFFF"/>
                </a:solidFill>
              </a:rPr>
              <a:t>the</a:t>
            </a:r>
            <a:r>
              <a:rPr spc="-30">
                <a:solidFill>
                  <a:srgbClr val="FFFFFF"/>
                </a:solidFill>
              </a:rPr>
              <a:t> </a:t>
            </a:r>
            <a:r>
              <a:rPr spc="-5">
                <a:solidFill>
                  <a:srgbClr val="FFFFFF"/>
                </a:solidFill>
              </a:rPr>
              <a:t>independent</a:t>
            </a:r>
            <a:r>
              <a:rPr spc="-30">
                <a:solidFill>
                  <a:srgbClr val="FFFFFF"/>
                </a:solidFill>
              </a:rPr>
              <a:t> </a:t>
            </a:r>
            <a:r>
              <a:rPr spc="-10">
                <a:solidFill>
                  <a:srgbClr val="FFFFFF"/>
                </a:solidFill>
              </a:rPr>
              <a:t>member</a:t>
            </a:r>
            <a:r>
              <a:rPr spc="-25">
                <a:solidFill>
                  <a:srgbClr val="FFFFFF"/>
                </a:solidFill>
              </a:rPr>
              <a:t> </a:t>
            </a:r>
            <a:r>
              <a:rPr spc="-5">
                <a:solidFill>
                  <a:srgbClr val="FFFFFF"/>
                </a:solidFill>
              </a:rPr>
              <a:t>firms</a:t>
            </a:r>
            <a:r>
              <a:rPr spc="-30">
                <a:solidFill>
                  <a:srgbClr val="FFFFFF"/>
                </a:solidFill>
              </a:rPr>
              <a:t> </a:t>
            </a:r>
            <a:r>
              <a:rPr spc="-10">
                <a:solidFill>
                  <a:srgbClr val="FFFFFF"/>
                </a:solidFill>
              </a:rPr>
              <a:t>of</a:t>
            </a:r>
            <a:r>
              <a:rPr spc="-30">
                <a:solidFill>
                  <a:srgbClr val="FFFFFF"/>
                </a:solidFill>
              </a:rPr>
              <a:t> </a:t>
            </a:r>
            <a:r>
              <a:rPr spc="-10">
                <a:solidFill>
                  <a:srgbClr val="FFFFFF"/>
                </a:solidFill>
              </a:rPr>
              <a:t>the</a:t>
            </a:r>
            <a:r>
              <a:rPr spc="-30">
                <a:solidFill>
                  <a:srgbClr val="FFFFFF"/>
                </a:solidFill>
              </a:rPr>
              <a:t> </a:t>
            </a:r>
            <a:r>
              <a:rPr>
                <a:solidFill>
                  <a:srgbClr val="FFFFFF"/>
                </a:solidFill>
              </a:rPr>
              <a:t>KPMG</a:t>
            </a:r>
            <a:r>
              <a:rPr spc="-30">
                <a:solidFill>
                  <a:srgbClr val="FFFFFF"/>
                </a:solidFill>
              </a:rPr>
              <a:t> </a:t>
            </a:r>
            <a:r>
              <a:rPr spc="-5">
                <a:solidFill>
                  <a:srgbClr val="FFFFFF"/>
                </a:solidFill>
              </a:rPr>
              <a:t>global</a:t>
            </a:r>
            <a:r>
              <a:rPr spc="-30">
                <a:solidFill>
                  <a:srgbClr val="FFFFFF"/>
                </a:solidFill>
              </a:rPr>
              <a:t> </a:t>
            </a:r>
            <a:r>
              <a:rPr spc="-10">
                <a:solidFill>
                  <a:srgbClr val="FFFFFF"/>
                </a:solidFill>
              </a:rPr>
              <a:t>organisation.</a:t>
            </a:r>
          </a:p>
          <a:p>
            <a:pPr marL="12700">
              <a:lnSpc>
                <a:spcPct val="100000"/>
              </a:lnSpc>
              <a:spcBef>
                <a:spcPts val="320"/>
              </a:spcBef>
            </a:pPr>
            <a:r>
              <a:rPr sz="800" spc="-10">
                <a:solidFill>
                  <a:srgbClr val="FFFFFF"/>
                </a:solidFill>
              </a:rPr>
              <a:t>Liability</a:t>
            </a:r>
            <a:r>
              <a:rPr sz="800" spc="-35">
                <a:solidFill>
                  <a:srgbClr val="FFFFFF"/>
                </a:solidFill>
              </a:rPr>
              <a:t> </a:t>
            </a:r>
            <a:r>
              <a:rPr sz="800" spc="-15">
                <a:solidFill>
                  <a:srgbClr val="FFFFFF"/>
                </a:solidFill>
              </a:rPr>
              <a:t>limited</a:t>
            </a:r>
            <a:r>
              <a:rPr sz="800" spc="-35">
                <a:solidFill>
                  <a:srgbClr val="FFFFFF"/>
                </a:solidFill>
              </a:rPr>
              <a:t> </a:t>
            </a:r>
            <a:r>
              <a:rPr sz="800" spc="-10">
                <a:solidFill>
                  <a:srgbClr val="FFFFFF"/>
                </a:solidFill>
              </a:rPr>
              <a:t>by</a:t>
            </a:r>
            <a:r>
              <a:rPr sz="800" spc="-35">
                <a:solidFill>
                  <a:srgbClr val="FFFFFF"/>
                </a:solidFill>
              </a:rPr>
              <a:t> </a:t>
            </a:r>
            <a:r>
              <a:rPr sz="800">
                <a:solidFill>
                  <a:srgbClr val="FFFFFF"/>
                </a:solidFill>
              </a:rPr>
              <a:t>a</a:t>
            </a:r>
            <a:r>
              <a:rPr sz="800" spc="-35">
                <a:solidFill>
                  <a:srgbClr val="FFFFFF"/>
                </a:solidFill>
              </a:rPr>
              <a:t> </a:t>
            </a:r>
            <a:r>
              <a:rPr sz="800" spc="-10">
                <a:solidFill>
                  <a:srgbClr val="FFFFFF"/>
                </a:solidFill>
              </a:rPr>
              <a:t>scheme</a:t>
            </a:r>
            <a:r>
              <a:rPr sz="800" spc="-35">
                <a:solidFill>
                  <a:srgbClr val="FFFFFF"/>
                </a:solidFill>
              </a:rPr>
              <a:t> </a:t>
            </a:r>
            <a:r>
              <a:rPr sz="800" spc="-15">
                <a:solidFill>
                  <a:srgbClr val="FFFFFF"/>
                </a:solidFill>
              </a:rPr>
              <a:t>approved</a:t>
            </a:r>
            <a:r>
              <a:rPr sz="800" spc="-35">
                <a:solidFill>
                  <a:srgbClr val="FFFFFF"/>
                </a:solidFill>
              </a:rPr>
              <a:t> </a:t>
            </a:r>
            <a:r>
              <a:rPr sz="800" spc="-10">
                <a:solidFill>
                  <a:srgbClr val="FFFFFF"/>
                </a:solidFill>
              </a:rPr>
              <a:t>under</a:t>
            </a:r>
            <a:r>
              <a:rPr sz="800" spc="-35">
                <a:solidFill>
                  <a:srgbClr val="FFFFFF"/>
                </a:solidFill>
              </a:rPr>
              <a:t> </a:t>
            </a:r>
            <a:r>
              <a:rPr sz="800" spc="-15">
                <a:solidFill>
                  <a:srgbClr val="FFFFFF"/>
                </a:solidFill>
              </a:rPr>
              <a:t>Professional</a:t>
            </a:r>
            <a:r>
              <a:rPr sz="800" spc="-35">
                <a:solidFill>
                  <a:srgbClr val="FFFFFF"/>
                </a:solidFill>
              </a:rPr>
              <a:t> </a:t>
            </a:r>
            <a:r>
              <a:rPr sz="800" spc="-10">
                <a:solidFill>
                  <a:srgbClr val="FFFFFF"/>
                </a:solidFill>
              </a:rPr>
              <a:t>Standards</a:t>
            </a:r>
            <a:r>
              <a:rPr sz="800" spc="-35">
                <a:solidFill>
                  <a:srgbClr val="FFFFFF"/>
                </a:solidFill>
              </a:rPr>
              <a:t> </a:t>
            </a:r>
            <a:r>
              <a:rPr sz="800" spc="-15">
                <a:solidFill>
                  <a:srgbClr val="FFFFFF"/>
                </a:solidFill>
              </a:rPr>
              <a:t>Legislation.</a:t>
            </a:r>
            <a:endParaRPr sz="80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5</a:t>
            </a:fld>
            <a:endParaRPr lang="en-US"/>
          </a:p>
        </p:txBody>
      </p:sp>
      <p:sp>
        <p:nvSpPr>
          <p:cNvPr id="6" name="Holder 6"/>
          <p:cNvSpPr>
            <a:spLocks noGrp="1"/>
          </p:cNvSpPr>
          <p:nvPr>
            <p:ph type="sldNum" sz="quarter" idx="7"/>
          </p:nvPr>
        </p:nvSpPr>
        <p:spPr/>
        <p:txBody>
          <a:bodyPr lIns="0" tIns="0" rIns="0" bIns="0"/>
          <a:lstStyle>
            <a:lvl1pPr>
              <a:defRPr sz="800" b="1" i="0">
                <a:solidFill>
                  <a:srgbClr val="B2B2B2"/>
                </a:solidFill>
                <a:latin typeface="UniversLTStd-Bold"/>
                <a:cs typeface="UniversLTStd-Bold"/>
              </a:defRPr>
            </a:lvl1pPr>
          </a:lstStyle>
          <a:p>
            <a:pPr marL="38100">
              <a:lnSpc>
                <a:spcPct val="100000"/>
              </a:lnSpc>
              <a:spcBef>
                <a:spcPts val="50"/>
              </a:spcBef>
            </a:pPr>
            <a:fld id="{81D60167-4931-47E6-BA6A-407CBD079E47}" type="slidenum">
              <a:rPr dirty="0">
                <a:solidFill>
                  <a:srgbClr val="FFFFFF"/>
                </a:solidFill>
              </a:rPr>
              <a:t>‹#›</a:t>
            </a:fld>
            <a:endParaRPr>
              <a:solidFill>
                <a:srgbClr val="FFFFFF"/>
              </a:solidFill>
            </a:endParaRPr>
          </a:p>
        </p:txBody>
      </p:sp>
    </p:spTree>
    <p:extLst>
      <p:ext uri="{BB962C8B-B14F-4D97-AF65-F5344CB8AC3E}">
        <p14:creationId xmlns:p14="http://schemas.microsoft.com/office/powerpoint/2010/main" val="14597373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Integration &amp; I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574E2BF-2497-AC89-B3ED-DD3A94B923FF}"/>
              </a:ext>
            </a:extLst>
          </p:cNvPr>
          <p:cNvGraphicFramePr>
            <a:graphicFrameLocks noChangeAspect="1"/>
          </p:cNvGraphicFramePr>
          <p:nvPr userDrawn="1">
            <p:custDataLst>
              <p:tags r:id="rId1"/>
            </p:custDataLst>
            <p:extLst>
              <p:ext uri="{D42A27DB-BD31-4B8C-83A1-F6EECF244321}">
                <p14:modId xmlns:p14="http://schemas.microsoft.com/office/powerpoint/2010/main" val="1281465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3574E2BF-2497-AC89-B3ED-DD3A94B923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close up of a human head&#10;&#10;Description automatically generated">
            <a:extLst>
              <a:ext uri="{FF2B5EF4-FFF2-40B4-BE49-F238E27FC236}">
                <a16:creationId xmlns:a16="http://schemas.microsoft.com/office/drawing/2014/main" id="{451A5A63-880A-51CE-ED49-D11C9A56841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47406" t="33138" b="19269"/>
          <a:stretch/>
        </p:blipFill>
        <p:spPr>
          <a:xfrm flipH="1">
            <a:off x="-2" y="0"/>
            <a:ext cx="12192002" cy="6858000"/>
          </a:xfrm>
          <a:prstGeom prst="rect">
            <a:avLst/>
          </a:prstGeom>
        </p:spPr>
      </p:pic>
      <p:sp>
        <p:nvSpPr>
          <p:cNvPr id="3" name="Rectangle 2">
            <a:extLst>
              <a:ext uri="{FF2B5EF4-FFF2-40B4-BE49-F238E27FC236}">
                <a16:creationId xmlns:a16="http://schemas.microsoft.com/office/drawing/2014/main" id="{FD756666-5365-6F7E-C668-C4C826852B75}"/>
              </a:ext>
            </a:extLst>
          </p:cNvPr>
          <p:cNvSpPr/>
          <p:nvPr userDrawn="1"/>
        </p:nvSpPr>
        <p:spPr>
          <a:xfrm>
            <a:off x="0" y="-4214"/>
            <a:ext cx="6609144" cy="6858000"/>
          </a:xfrm>
          <a:prstGeom prst="rect">
            <a:avLst/>
          </a:prstGeom>
          <a:gradFill>
            <a:gsLst>
              <a:gs pos="0">
                <a:schemeClr val="tx2"/>
              </a:gs>
              <a:gs pos="100000">
                <a:schemeClr val="tx2">
                  <a:alpha val="0"/>
                </a:schemeClr>
              </a:gs>
              <a:gs pos="74000">
                <a:schemeClr val="tx2">
                  <a:alpha val="3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a:solidFill>
                <a:schemeClr val="bg1"/>
              </a:solidFill>
            </a:endParaRPr>
          </a:p>
        </p:txBody>
      </p:sp>
      <p:sp>
        <p:nvSpPr>
          <p:cNvPr id="4" name="Rectangle 3">
            <a:extLst>
              <a:ext uri="{FF2B5EF4-FFF2-40B4-BE49-F238E27FC236}">
                <a16:creationId xmlns:a16="http://schemas.microsoft.com/office/drawing/2014/main" id="{957769F5-7D16-8B55-9E40-9679EB259B34}"/>
              </a:ext>
            </a:extLst>
          </p:cNvPr>
          <p:cNvSpPr/>
          <p:nvPr userDrawn="1"/>
        </p:nvSpPr>
        <p:spPr>
          <a:xfrm>
            <a:off x="-1" y="0"/>
            <a:ext cx="7304292" cy="6857144"/>
          </a:xfrm>
          <a:prstGeom prst="rect">
            <a:avLst/>
          </a:prstGeom>
          <a:gradFill>
            <a:gsLst>
              <a:gs pos="73000">
                <a:srgbClr val="061E41">
                  <a:alpha val="68000"/>
                </a:srgbClr>
              </a:gs>
              <a:gs pos="33000">
                <a:schemeClr val="accent2">
                  <a:lumMod val="50000"/>
                </a:schemeClr>
              </a:gs>
              <a:gs pos="100000">
                <a:schemeClr val="accent2">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sp>
        <p:nvSpPr>
          <p:cNvPr id="355" name="Title 11">
            <a:extLst>
              <a:ext uri="{FF2B5EF4-FFF2-40B4-BE49-F238E27FC236}">
                <a16:creationId xmlns:a16="http://schemas.microsoft.com/office/drawing/2014/main" id="{B118C811-B583-DCB2-8C31-E46DDB609768}"/>
              </a:ext>
            </a:extLst>
          </p:cNvPr>
          <p:cNvSpPr>
            <a:spLocks noGrp="1"/>
          </p:cNvSpPr>
          <p:nvPr>
            <p:ph type="title" hasCustomPrompt="1"/>
          </p:nvPr>
        </p:nvSpPr>
        <p:spPr>
          <a:xfrm>
            <a:off x="1003200" y="965877"/>
            <a:ext cx="10468800" cy="603000"/>
          </a:xfrm>
        </p:spPr>
        <p:txBody>
          <a:bodyPr vert="horz"/>
          <a:lstStyle>
            <a:lvl1pPr>
              <a:defRPr>
                <a:solidFill>
                  <a:schemeClr val="bg1"/>
                </a:solidFill>
              </a:defRPr>
            </a:lvl1pPr>
          </a:lstStyle>
          <a:p>
            <a:r>
              <a:rPr lang="en-US"/>
              <a:t>Click to edit </a:t>
            </a:r>
            <a:br>
              <a:rPr lang="en-US"/>
            </a:br>
            <a:r>
              <a:rPr lang="en-US"/>
              <a:t>Master title style</a:t>
            </a:r>
          </a:p>
        </p:txBody>
      </p:sp>
      <p:grpSp>
        <p:nvGrpSpPr>
          <p:cNvPr id="5" name="Group 4">
            <a:extLst>
              <a:ext uri="{FF2B5EF4-FFF2-40B4-BE49-F238E27FC236}">
                <a16:creationId xmlns:a16="http://schemas.microsoft.com/office/drawing/2014/main" id="{4ACA2855-65BA-A9E7-B87E-ABA61E6C95ED}"/>
              </a:ext>
            </a:extLst>
          </p:cNvPr>
          <p:cNvGrpSpPr/>
          <p:nvPr userDrawn="1"/>
        </p:nvGrpSpPr>
        <p:grpSpPr>
          <a:xfrm>
            <a:off x="0" y="0"/>
            <a:ext cx="12191999" cy="6858000"/>
            <a:chOff x="-56345" y="0"/>
            <a:chExt cx="12248344" cy="6862217"/>
          </a:xfrm>
        </p:grpSpPr>
        <p:pic>
          <p:nvPicPr>
            <p:cNvPr id="6" name="Picture 5" descr="A blue glowing human head&#10;&#10;Description automatically generated">
              <a:extLst>
                <a:ext uri="{FF2B5EF4-FFF2-40B4-BE49-F238E27FC236}">
                  <a16:creationId xmlns:a16="http://schemas.microsoft.com/office/drawing/2014/main" id="{10B419CE-7C36-961D-27E4-2B479462C5F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7031" t="20226" r="11287" b="-49"/>
            <a:stretch/>
          </p:blipFill>
          <p:spPr>
            <a:xfrm flipH="1">
              <a:off x="2721371" y="0"/>
              <a:ext cx="9470628" cy="6862217"/>
            </a:xfrm>
            <a:prstGeom prst="rect">
              <a:avLst/>
            </a:prstGeom>
          </p:spPr>
        </p:pic>
        <p:sp>
          <p:nvSpPr>
            <p:cNvPr id="7" name="Rectangle 6">
              <a:extLst>
                <a:ext uri="{FF2B5EF4-FFF2-40B4-BE49-F238E27FC236}">
                  <a16:creationId xmlns:a16="http://schemas.microsoft.com/office/drawing/2014/main" id="{DE8522DA-640E-8EAC-DFEF-D1D07A43E499}"/>
                </a:ext>
              </a:extLst>
            </p:cNvPr>
            <p:cNvSpPr/>
            <p:nvPr userDrawn="1"/>
          </p:nvSpPr>
          <p:spPr>
            <a:xfrm>
              <a:off x="-56345" y="0"/>
              <a:ext cx="9644098" cy="6857144"/>
            </a:xfrm>
            <a:prstGeom prst="rect">
              <a:avLst/>
            </a:prstGeom>
            <a:gradFill>
              <a:gsLst>
                <a:gs pos="73000">
                  <a:srgbClr val="061E41">
                    <a:alpha val="68000"/>
                  </a:srgbClr>
                </a:gs>
                <a:gs pos="32000">
                  <a:schemeClr val="accent2">
                    <a:lumMod val="50000"/>
                  </a:schemeClr>
                </a:gs>
                <a:gs pos="100000">
                  <a:schemeClr val="accent2">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grpSp>
    </p:spTree>
    <p:extLst>
      <p:ext uri="{BB962C8B-B14F-4D97-AF65-F5344CB8AC3E}">
        <p14:creationId xmlns:p14="http://schemas.microsoft.com/office/powerpoint/2010/main" val="331388698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F680A8EA-2B0E-411E-90AD-02F7AF47674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4" name="Rectangle 3">
            <a:extLst>
              <a:ext uri="{FF2B5EF4-FFF2-40B4-BE49-F238E27FC236}">
                <a16:creationId xmlns:a16="http://schemas.microsoft.com/office/drawing/2014/main" id="{1E96C774-8B31-4EC8-BF6C-ACF71C2F0C15}"/>
              </a:ext>
              <a:ext uri="{C183D7F6-B498-43B3-948B-1728B52AA6E4}">
                <adec:decorative xmlns:adec="http://schemas.microsoft.com/office/drawing/2017/decorative" val="1"/>
              </a:ext>
            </a:extLst>
          </p:cNvPr>
          <p:cNvSpPr>
            <a:spLocks noChangeAspect="1"/>
          </p:cNvSpPr>
          <p:nvPr/>
        </p:nvSpPr>
        <p:spPr>
          <a:xfrm>
            <a:off x="998477" y="1470480"/>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3" name="Rectangle 2">
            <a:extLst>
              <a:ext uri="{FF2B5EF4-FFF2-40B4-BE49-F238E27FC236}">
                <a16:creationId xmlns:a16="http://schemas.microsoft.com/office/drawing/2014/main" id="{AE742243-9221-AB9C-293C-9C53F02C5262}"/>
              </a:ext>
            </a:extLst>
          </p:cNvPr>
          <p:cNvSpPr/>
          <p:nvPr userDrawn="1"/>
        </p:nvSpPr>
        <p:spPr>
          <a:xfrm>
            <a:off x="-934277" y="1"/>
            <a:ext cx="626165" cy="7396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sp>
        <p:nvSpPr>
          <p:cNvPr id="5" name="Rectangle 4">
            <a:extLst>
              <a:ext uri="{FF2B5EF4-FFF2-40B4-BE49-F238E27FC236}">
                <a16:creationId xmlns:a16="http://schemas.microsoft.com/office/drawing/2014/main" id="{DA4AA6F8-9798-5B2D-0638-136EF16360CE}"/>
              </a:ext>
            </a:extLst>
          </p:cNvPr>
          <p:cNvSpPr/>
          <p:nvPr userDrawn="1"/>
        </p:nvSpPr>
        <p:spPr>
          <a:xfrm>
            <a:off x="-934278" y="730822"/>
            <a:ext cx="626165" cy="7396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sp>
        <p:nvSpPr>
          <p:cNvPr id="7" name="Rectangle 6">
            <a:extLst>
              <a:ext uri="{FF2B5EF4-FFF2-40B4-BE49-F238E27FC236}">
                <a16:creationId xmlns:a16="http://schemas.microsoft.com/office/drawing/2014/main" id="{4C2D9EBC-0F6C-37FD-4009-1103C5FE771A}"/>
              </a:ext>
            </a:extLst>
          </p:cNvPr>
          <p:cNvSpPr/>
          <p:nvPr userDrawn="1"/>
        </p:nvSpPr>
        <p:spPr>
          <a:xfrm>
            <a:off x="-934279" y="1470479"/>
            <a:ext cx="626165" cy="739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sp>
        <p:nvSpPr>
          <p:cNvPr id="9" name="Rectangle 8">
            <a:extLst>
              <a:ext uri="{FF2B5EF4-FFF2-40B4-BE49-F238E27FC236}">
                <a16:creationId xmlns:a16="http://schemas.microsoft.com/office/drawing/2014/main" id="{442F7698-DD4F-5C3C-5973-922A90E96C29}"/>
              </a:ext>
            </a:extLst>
          </p:cNvPr>
          <p:cNvSpPr/>
          <p:nvPr userDrawn="1"/>
        </p:nvSpPr>
        <p:spPr>
          <a:xfrm>
            <a:off x="-934280" y="2210137"/>
            <a:ext cx="626165" cy="739657"/>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spTree>
    <p:extLst>
      <p:ext uri="{BB962C8B-B14F-4D97-AF65-F5344CB8AC3E}">
        <p14:creationId xmlns:p14="http://schemas.microsoft.com/office/powerpoint/2010/main" val="390777606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93430CE4-5B69-4517-8F25-A3A23061E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1804823060"/>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Left Vertical Window_KPMG Blue">
    <p:bg>
      <p:bgPr>
        <a:solidFill>
          <a:schemeClr val="accent2"/>
        </a:solidFill>
        <a:effectLst/>
      </p:bgPr>
    </p:bg>
    <p:spTree>
      <p:nvGrpSpPr>
        <p:cNvPr id="1" name=""/>
        <p:cNvGrpSpPr/>
        <p:nvPr/>
      </p:nvGrpSpPr>
      <p:grpSpPr>
        <a:xfrm>
          <a:off x="0" y="0"/>
          <a:ext cx="0" cy="0"/>
          <a:chOff x="0" y="0"/>
          <a:chExt cx="0" cy="0"/>
        </a:xfrm>
      </p:grpSpPr>
      <p:pic>
        <p:nvPicPr>
          <p:cNvPr id="4" name="Picture 3" descr="A close up of a human head&#10;&#10;Description automatically generated">
            <a:extLst>
              <a:ext uri="{FF2B5EF4-FFF2-40B4-BE49-F238E27FC236}">
                <a16:creationId xmlns:a16="http://schemas.microsoft.com/office/drawing/2014/main" id="{69EA6051-899C-CC48-B643-46E697A64AB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pic>
        <p:nvPicPr>
          <p:cNvPr id="8" name="Graphic 7">
            <a:extLst>
              <a:ext uri="{FF2B5EF4-FFF2-40B4-BE49-F238E27FC236}">
                <a16:creationId xmlns:a16="http://schemas.microsoft.com/office/drawing/2014/main" id="{ACB44795-849A-41CE-8B25-0DE9EB09F9B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sp>
        <p:nvSpPr>
          <p:cNvPr id="2" name="Title 1"/>
          <p:cNvSpPr>
            <a:spLocks noGrp="1"/>
          </p:cNvSpPr>
          <p:nvPr>
            <p:ph type="ctrTitle" hasCustomPrompt="1"/>
          </p:nvPr>
        </p:nvSpPr>
        <p:spPr>
          <a:xfrm>
            <a:off x="998476"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998476"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452137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9F2B47DB-768D-47AE-9D19-E74198AD42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4" name="Rectangle 3">
            <a:extLst>
              <a:ext uri="{FF2B5EF4-FFF2-40B4-BE49-F238E27FC236}">
                <a16:creationId xmlns:a16="http://schemas.microsoft.com/office/drawing/2014/main" id="{1E96C774-8B31-4EC8-BF6C-ACF71C2F0C15}"/>
              </a:ext>
              <a:ext uri="{C183D7F6-B498-43B3-948B-1728B52AA6E4}">
                <adec:decorative xmlns:adec="http://schemas.microsoft.com/office/drawing/2017/decorative" val="1"/>
              </a:ext>
            </a:extLst>
          </p:cNvPr>
          <p:cNvSpPr>
            <a:spLocks noChangeAspect="1"/>
          </p:cNvSpPr>
          <p:nvPr/>
        </p:nvSpPr>
        <p:spPr>
          <a:xfrm>
            <a:off x="3405716" y="371312"/>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4"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sp>
        <p:nvSpPr>
          <p:cNvPr id="6" name="Text Placeholder 3"/>
          <p:cNvSpPr>
            <a:spLocks noGrp="1"/>
          </p:cNvSpPr>
          <p:nvPr>
            <p:ph type="body" sz="quarter" idx="11"/>
          </p:nvPr>
        </p:nvSpPr>
        <p:spPr>
          <a:xfrm>
            <a:off x="3672181"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3465840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8DFFAD0-690D-40FA-92E3-26DD5F2CF717}"/>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104" name="Rectangle 103">
            <a:extLst>
              <a:ext uri="{FF2B5EF4-FFF2-40B4-BE49-F238E27FC236}">
                <a16:creationId xmlns:a16="http://schemas.microsoft.com/office/drawing/2014/main" id="{6A6246C3-5BC1-4146-9E95-B8B3F1B77C22}"/>
              </a:ext>
              <a:ext uri="{C183D7F6-B498-43B3-948B-1728B52AA6E4}">
                <adec:decorative xmlns:adec="http://schemas.microsoft.com/office/drawing/2017/decorative" val="1"/>
              </a:ext>
            </a:extLst>
          </p:cNvPr>
          <p:cNvSpPr>
            <a:spLocks noChangeAspect="1"/>
          </p:cNvSpPr>
          <p:nvPr/>
        </p:nvSpPr>
        <p:spPr>
          <a:xfrm>
            <a:off x="7435790"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053150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93430CE4-5B69-4517-8F25-A3A23061EE9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
        <p:nvSpPr>
          <p:cNvPr id="2" name="Title 1"/>
          <p:cNvSpPr>
            <a:spLocks noGrp="1"/>
          </p:cNvSpPr>
          <p:nvPr>
            <p:ph type="ctrTitle" hasCustomPrompt="1"/>
          </p:nvPr>
        </p:nvSpPr>
        <p:spPr>
          <a:xfrm>
            <a:off x="7642337" y="1468381"/>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648629"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1"/>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2965630127"/>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3FEB65A9-A8F4-40C5-AC08-82132F1B1BD0}"/>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
        <p:nvSpPr>
          <p:cNvPr id="2" name="Title 1"/>
          <p:cNvSpPr>
            <a:spLocks noGrp="1"/>
          </p:cNvSpPr>
          <p:nvPr>
            <p:ph type="ctrTitle" hasCustomPrompt="1"/>
          </p:nvPr>
        </p:nvSpPr>
        <p:spPr>
          <a:xfrm>
            <a:off x="5489910" y="1453784"/>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8"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24709303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23EE304-3FCA-4CF8-84B4-178F6B5C57AE}"/>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9"/>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9"/>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1066410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9325F0-DADC-43A7-A4FF-97033BB2202D}"/>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2" name="Title 1"/>
          <p:cNvSpPr>
            <a:spLocks noGrp="1"/>
          </p:cNvSpPr>
          <p:nvPr>
            <p:ph type="ctrTitle" hasCustomPrompt="1"/>
          </p:nvPr>
        </p:nvSpPr>
        <p:spPr>
          <a:xfrm>
            <a:off x="998479" y="1456389"/>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998479"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8" y="371312"/>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11747565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671255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147A601A-3AE8-4889-A026-9740E00CCFBB}"/>
              </a:ext>
              <a:ext uri="{C183D7F6-B498-43B3-948B-1728B52AA6E4}">
                <adec:decorative xmlns:adec="http://schemas.microsoft.com/office/drawing/2017/decorative" val="1"/>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2117"/>
          </a:p>
        </p:txBody>
      </p:sp>
      <p:sp>
        <p:nvSpPr>
          <p:cNvPr id="4" name="Shape 8">
            <a:extLst>
              <a:ext uri="{FF2B5EF4-FFF2-40B4-BE49-F238E27FC236}">
                <a16:creationId xmlns:a16="http://schemas.microsoft.com/office/drawing/2014/main" id="{FEACBC9C-FDC2-4718-A261-6371F0F60DE3}"/>
              </a:ext>
            </a:extLst>
          </p:cNvPr>
          <p:cNvSpPr txBox="1">
            <a:spLocks/>
          </p:cNvSpPr>
          <p:nvPr/>
        </p:nvSpPr>
        <p:spPr>
          <a:xfrm>
            <a:off x="10946607" y="6266998"/>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0"/>
              </a:ext>
            </a:extLst>
          </p:cNvPr>
          <p:cNvSpPr txBox="1"/>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p:custDataLst>
              <p:tags r:id="rId1"/>
            </p:custDataLst>
          </p:nvPr>
        </p:nvSpPr>
        <p:spPr>
          <a:xfrm>
            <a:off x="8813801" y="6295537"/>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p:nvCxnSpPr>
        <p:spPr>
          <a:xfrm>
            <a:off x="10928548" y="6266998"/>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50642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On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995364" y="1330127"/>
            <a:ext cx="10198237" cy="4546799"/>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528712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3FEB65A9-A8F4-40C5-AC08-82132F1B1B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38260023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uture state overview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a:xfrm>
            <a:off x="110782" y="113747"/>
            <a:ext cx="10204450" cy="533400"/>
          </a:xfrm>
        </p:spPr>
        <p:txBody>
          <a:bodyPr/>
          <a:lstStyle/>
          <a:p>
            <a:r>
              <a:rPr lang="en-US"/>
              <a:t>Click to edit Master title style</a:t>
            </a:r>
            <a:endParaRPr lang="en-GB"/>
          </a:p>
        </p:txBody>
      </p:sp>
      <p:sp>
        <p:nvSpPr>
          <p:cNvPr id="9" name="Text Placeholder 8"/>
          <p:cNvSpPr>
            <a:spLocks noGrp="1"/>
          </p:cNvSpPr>
          <p:nvPr>
            <p:ph type="body" sz="quarter" idx="10"/>
          </p:nvPr>
        </p:nvSpPr>
        <p:spPr>
          <a:xfrm>
            <a:off x="995364" y="1330127"/>
            <a:ext cx="10198237" cy="4546799"/>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899244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One Column Text_doubl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9"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93201740"/>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9"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Graphic 8">
            <a:extLst>
              <a:ext uri="{FF2B5EF4-FFF2-40B4-BE49-F238E27FC236}">
                <a16:creationId xmlns:a16="http://schemas.microsoft.com/office/drawing/2014/main" id="{567897B5-3A96-440B-8018-FDD880280B2A}"/>
              </a:ext>
              <a:ext uri="{C183D7F6-B498-43B3-948B-1728B52AA6E4}">
                <adec:decorative xmlns:adec="http://schemas.microsoft.com/office/drawing/2017/decorative" val="1"/>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2117"/>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0"/>
              </a:ext>
            </a:extLst>
          </p:cNvPr>
          <p:cNvSpPr txBox="1"/>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
        <p:nvSpPr>
          <p:cNvPr id="5" name="Shape 8">
            <a:extLst>
              <a:ext uri="{FF2B5EF4-FFF2-40B4-BE49-F238E27FC236}">
                <a16:creationId xmlns:a16="http://schemas.microsoft.com/office/drawing/2014/main" id="{F4561A05-7671-4539-AB97-A9979F67EB43}"/>
              </a:ext>
              <a:ext uri="{C183D7F6-B498-43B3-948B-1728B52AA6E4}">
                <adec:decorative xmlns:adec="http://schemas.microsoft.com/office/drawing/2017/decorative" val="0"/>
              </a:ext>
            </a:extLst>
          </p:cNvPr>
          <p:cNvSpPr txBox="1">
            <a:spLocks/>
          </p:cNvSpPr>
          <p:nvPr/>
        </p:nvSpPr>
        <p:spPr>
          <a:xfrm>
            <a:off x="10946607" y="6266998"/>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0"/>
              </a:ext>
            </a:extLst>
          </p:cNvPr>
          <p:cNvSpPr txBox="1"/>
          <p:nvPr>
            <p:custDataLst>
              <p:tags r:id="rId1"/>
            </p:custDataLst>
          </p:nvPr>
        </p:nvSpPr>
        <p:spPr>
          <a:xfrm>
            <a:off x="8820154" y="6295537"/>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9" name="Straight Connector 8">
            <a:extLst>
              <a:ext uri="{FF2B5EF4-FFF2-40B4-BE49-F238E27FC236}">
                <a16:creationId xmlns:a16="http://schemas.microsoft.com/office/drawing/2014/main" id="{89D5ED2D-F17F-4481-8AE6-4D9EA0535145}"/>
              </a:ext>
              <a:ext uri="{C183D7F6-B498-43B3-948B-1728B52AA6E4}">
                <adec:decorative xmlns:adec="http://schemas.microsoft.com/office/drawing/2017/decorative" val="1"/>
              </a:ext>
            </a:extLst>
          </p:cNvPr>
          <p:cNvCxnSpPr/>
          <p:nvPr/>
        </p:nvCxnSpPr>
        <p:spPr>
          <a:xfrm>
            <a:off x="10928548" y="6266998"/>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0349129"/>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1"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0"/>
              </a:ext>
            </a:extLst>
          </p:cNvPr>
          <p:cNvSpPr txBox="1"/>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sp>
        <p:nvSpPr>
          <p:cNvPr id="4" name="Shape 8">
            <a:extLst>
              <a:ext uri="{FF2B5EF4-FFF2-40B4-BE49-F238E27FC236}">
                <a16:creationId xmlns:a16="http://schemas.microsoft.com/office/drawing/2014/main" id="{FEACBC9C-FDC2-4718-A261-6371F0F60DE3}"/>
              </a:ext>
            </a:extLst>
          </p:cNvPr>
          <p:cNvSpPr txBox="1">
            <a:spLocks/>
          </p:cNvSpPr>
          <p:nvPr/>
        </p:nvSpPr>
        <p:spPr>
          <a:xfrm>
            <a:off x="10946607" y="6266998"/>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p:custDataLst>
              <p:tags r:id="rId1"/>
            </p:custDataLst>
          </p:nvPr>
        </p:nvSpPr>
        <p:spPr>
          <a:xfrm>
            <a:off x="8896358" y="6295537"/>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p:nvCxnSpPr>
        <p:spPr>
          <a:xfrm>
            <a:off x="10928548" y="6266998"/>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48947F85-E5F1-445E-BD2C-8963D165668D}"/>
              </a:ext>
              <a:ext uri="{C183D7F6-B498-43B3-948B-1728B52AA6E4}">
                <adec:decorative xmlns:adec="http://schemas.microsoft.com/office/drawing/2017/decorative" val="1"/>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2117"/>
          </a:p>
        </p:txBody>
      </p:sp>
    </p:spTree>
    <p:extLst>
      <p:ext uri="{BB962C8B-B14F-4D97-AF65-F5344CB8AC3E}">
        <p14:creationId xmlns:p14="http://schemas.microsoft.com/office/powerpoint/2010/main" val="22091352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0127"/>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7"/>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445236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1"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0"/>
              </a:ext>
            </a:extLst>
          </p:cNvPr>
          <p:cNvSpPr txBox="1"/>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sp>
        <p:nvSpPr>
          <p:cNvPr id="4" name="Shape 8">
            <a:extLst>
              <a:ext uri="{FF2B5EF4-FFF2-40B4-BE49-F238E27FC236}">
                <a16:creationId xmlns:a16="http://schemas.microsoft.com/office/drawing/2014/main" id="{FEACBC9C-FDC2-4718-A261-6371F0F60DE3}"/>
              </a:ext>
            </a:extLst>
          </p:cNvPr>
          <p:cNvSpPr txBox="1">
            <a:spLocks/>
          </p:cNvSpPr>
          <p:nvPr/>
        </p:nvSpPr>
        <p:spPr>
          <a:xfrm>
            <a:off x="10946607" y="6266998"/>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p:custDataLst>
              <p:tags r:id="rId1"/>
            </p:custDataLst>
          </p:nvPr>
        </p:nvSpPr>
        <p:spPr>
          <a:xfrm>
            <a:off x="8864607" y="6295537"/>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p:nvCxnSpPr>
        <p:spPr>
          <a:xfrm>
            <a:off x="10928548" y="6266998"/>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79D6C947-06F1-4188-A558-E10C77FF12CE}"/>
              </a:ext>
              <a:ext uri="{C183D7F6-B498-43B3-948B-1728B52AA6E4}">
                <adec:decorative xmlns:adec="http://schemas.microsoft.com/office/drawing/2017/decorative" val="1"/>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2117"/>
          </a:p>
        </p:txBody>
      </p:sp>
    </p:spTree>
    <p:extLst>
      <p:ext uri="{BB962C8B-B14F-4D97-AF65-F5344CB8AC3E}">
        <p14:creationId xmlns:p14="http://schemas.microsoft.com/office/powerpoint/2010/main" val="80814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with Image or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0151460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 Column Char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3740113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38531011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 Column Chart &amp;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5337776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3284474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rocess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
        <p:nvSpPr>
          <p:cNvPr id="13" name="Text Placeholder 12"/>
          <p:cNvSpPr>
            <a:spLocks noGrp="1"/>
          </p:cNvSpPr>
          <p:nvPr>
            <p:ph type="body" sz="quarter" idx="14" hasCustomPrompt="1"/>
          </p:nvPr>
        </p:nvSpPr>
        <p:spPr>
          <a:xfrm>
            <a:off x="1003201"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9" name="Text Placeholder 8"/>
          <p:cNvSpPr>
            <a:spLocks noGrp="1"/>
          </p:cNvSpPr>
          <p:nvPr>
            <p:ph type="body" sz="quarter" idx="10"/>
          </p:nvPr>
        </p:nvSpPr>
        <p:spPr>
          <a:xfrm>
            <a:off x="1003201"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p:cNvSpPr>
            <a:spLocks noGrp="1"/>
          </p:cNvSpPr>
          <p:nvPr>
            <p:ph type="body" sz="quarter" idx="15" hasCustomPrompt="1"/>
          </p:nvPr>
        </p:nvSpPr>
        <p:spPr>
          <a:xfrm>
            <a:off x="3068985"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4" name="Text Placeholder 8"/>
          <p:cNvSpPr>
            <a:spLocks noGrp="1"/>
          </p:cNvSpPr>
          <p:nvPr>
            <p:ph type="body" sz="quarter" idx="11"/>
          </p:nvPr>
        </p:nvSpPr>
        <p:spPr>
          <a:xfrm>
            <a:off x="3068984"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2"/>
          <p:cNvSpPr>
            <a:spLocks noGrp="1"/>
          </p:cNvSpPr>
          <p:nvPr>
            <p:ph type="body" sz="quarter" idx="16" hasCustomPrompt="1"/>
          </p:nvPr>
        </p:nvSpPr>
        <p:spPr>
          <a:xfrm>
            <a:off x="5134769"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5" name="Text Placeholder 8"/>
          <p:cNvSpPr>
            <a:spLocks noGrp="1"/>
          </p:cNvSpPr>
          <p:nvPr>
            <p:ph type="body" sz="quarter" idx="12"/>
          </p:nvPr>
        </p:nvSpPr>
        <p:spPr>
          <a:xfrm>
            <a:off x="5134768"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2"/>
          <p:cNvSpPr>
            <a:spLocks noGrp="1"/>
          </p:cNvSpPr>
          <p:nvPr>
            <p:ph type="body" sz="quarter" idx="17" hasCustomPrompt="1"/>
          </p:nvPr>
        </p:nvSpPr>
        <p:spPr>
          <a:xfrm>
            <a:off x="7200553"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6" name="Text Placeholder 8"/>
          <p:cNvSpPr>
            <a:spLocks noGrp="1"/>
          </p:cNvSpPr>
          <p:nvPr>
            <p:ph type="body" sz="quarter" idx="13"/>
          </p:nvPr>
        </p:nvSpPr>
        <p:spPr>
          <a:xfrm>
            <a:off x="7200552"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2"/>
          <p:cNvSpPr>
            <a:spLocks noGrp="1"/>
          </p:cNvSpPr>
          <p:nvPr>
            <p:ph type="body" sz="quarter" idx="18" hasCustomPrompt="1"/>
          </p:nvPr>
        </p:nvSpPr>
        <p:spPr>
          <a:xfrm>
            <a:off x="926633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469751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rocess 5 Columns_Cobalt Blu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1"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5"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9"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3"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3"/>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329453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 uri="{C183D7F6-B498-43B3-948B-1728B52AA6E4}">
                <adec:decorative xmlns:adec="http://schemas.microsoft.com/office/drawing/2017/decorative" val="1"/>
              </a:ext>
            </a:extLst>
          </p:cNvPr>
          <p:cNvSpPr/>
          <p:nvPr/>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6"/>
            <a:ext cx="10185400" cy="569387"/>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2"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9"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405032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rocess 4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
        <p:nvSpPr>
          <p:cNvPr id="13" name="Text Placeholder 12"/>
          <p:cNvSpPr>
            <a:spLocks noGrp="1"/>
          </p:cNvSpPr>
          <p:nvPr>
            <p:ph type="body" sz="quarter" idx="14" hasCustomPrompt="1"/>
          </p:nvPr>
        </p:nvSpPr>
        <p:spPr>
          <a:xfrm>
            <a:off x="1003201"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9" name="Text Placeholder 8"/>
          <p:cNvSpPr>
            <a:spLocks noGrp="1"/>
          </p:cNvSpPr>
          <p:nvPr>
            <p:ph type="body" sz="quarter" idx="10"/>
          </p:nvPr>
        </p:nvSpPr>
        <p:spPr>
          <a:xfrm>
            <a:off x="1003200" y="1936714"/>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p:cNvSpPr>
            <a:spLocks noGrp="1"/>
          </p:cNvSpPr>
          <p:nvPr>
            <p:ph type="body" sz="quarter" idx="15" hasCustomPrompt="1"/>
          </p:nvPr>
        </p:nvSpPr>
        <p:spPr>
          <a:xfrm>
            <a:off x="359377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4" name="Text Placeholder 8"/>
          <p:cNvSpPr>
            <a:spLocks noGrp="1"/>
          </p:cNvSpPr>
          <p:nvPr>
            <p:ph type="body" sz="quarter" idx="11"/>
          </p:nvPr>
        </p:nvSpPr>
        <p:spPr>
          <a:xfrm>
            <a:off x="3593775" y="1936714"/>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2"/>
          <p:cNvSpPr>
            <a:spLocks noGrp="1"/>
          </p:cNvSpPr>
          <p:nvPr>
            <p:ph type="body" sz="quarter" idx="16" hasCustomPrompt="1"/>
          </p:nvPr>
        </p:nvSpPr>
        <p:spPr>
          <a:xfrm>
            <a:off x="6184351"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5" name="Text Placeholder 8"/>
          <p:cNvSpPr>
            <a:spLocks noGrp="1"/>
          </p:cNvSpPr>
          <p:nvPr>
            <p:ph type="body" sz="quarter" idx="12"/>
          </p:nvPr>
        </p:nvSpPr>
        <p:spPr>
          <a:xfrm>
            <a:off x="6184350" y="1936714"/>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2"/>
          <p:cNvSpPr>
            <a:spLocks noGrp="1"/>
          </p:cNvSpPr>
          <p:nvPr>
            <p:ph type="body" sz="quarter" idx="17" hasCustomPrompt="1"/>
          </p:nvPr>
        </p:nvSpPr>
        <p:spPr>
          <a:xfrm>
            <a:off x="8774927"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6" name="Text Placeholder 8"/>
          <p:cNvSpPr>
            <a:spLocks noGrp="1"/>
          </p:cNvSpPr>
          <p:nvPr>
            <p:ph type="body" sz="quarter" idx="13"/>
          </p:nvPr>
        </p:nvSpPr>
        <p:spPr>
          <a:xfrm>
            <a:off x="8774926" y="1936714"/>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141153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rocess 4 Columns_Cobalt Blu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1"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4"/>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4"/>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1"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4"/>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7"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4"/>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34600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Quad Box with Icon and Center Text Bo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7"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7"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7"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563600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 Column Blue 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1003200" y="1720714"/>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4"/>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3805291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Quad Box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3" name="Text Placeholder 8"/>
          <p:cNvSpPr>
            <a:spLocks noGrp="1"/>
          </p:cNvSpPr>
          <p:nvPr>
            <p:ph type="body" sz="quarter" idx="19"/>
          </p:nvPr>
        </p:nvSpPr>
        <p:spPr>
          <a:xfrm>
            <a:off x="1003200" y="1720715"/>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5"/>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1"/>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1"/>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529567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5"/>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5"/>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1"/>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1"/>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hape 8">
            <a:extLst>
              <a:ext uri="{FF2B5EF4-FFF2-40B4-BE49-F238E27FC236}">
                <a16:creationId xmlns:a16="http://schemas.microsoft.com/office/drawing/2014/main" id="{1763B05F-830B-4267-AD78-15D92D15E48D}"/>
              </a:ext>
            </a:extLst>
          </p:cNvPr>
          <p:cNvSpPr txBox="1">
            <a:spLocks/>
          </p:cNvSpPr>
          <p:nvPr/>
        </p:nvSpPr>
        <p:spPr>
          <a:xfrm>
            <a:off x="10946607" y="6266998"/>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0"/>
              </a:ext>
            </a:extLst>
          </p:cNvPr>
          <p:cNvSpPr txBox="1"/>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0"/>
              </a:ext>
            </a:extLst>
          </p:cNvPr>
          <p:cNvSpPr txBox="1"/>
          <p:nvPr>
            <p:custDataLst>
              <p:tags r:id="rId1"/>
            </p:custDataLst>
          </p:nvPr>
        </p:nvSpPr>
        <p:spPr>
          <a:xfrm>
            <a:off x="8902703" y="6295537"/>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19" name="Straight Connector 18">
            <a:extLst>
              <a:ext uri="{FF2B5EF4-FFF2-40B4-BE49-F238E27FC236}">
                <a16:creationId xmlns:a16="http://schemas.microsoft.com/office/drawing/2014/main" id="{E4C51904-D930-45AA-AF92-A006847C8BF5}"/>
              </a:ext>
              <a:ext uri="{C183D7F6-B498-43B3-948B-1728B52AA6E4}">
                <adec:decorative xmlns:adec="http://schemas.microsoft.com/office/drawing/2017/decorative" val="1"/>
              </a:ext>
            </a:extLst>
          </p:cNvPr>
          <p:cNvCxnSpPr/>
          <p:nvPr/>
        </p:nvCxnSpPr>
        <p:spPr>
          <a:xfrm>
            <a:off x="10928548" y="6266998"/>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3FE807FD-1F53-40C0-958E-7B645C12F831}"/>
              </a:ext>
              <a:ext uri="{C183D7F6-B498-43B3-948B-1728B52AA6E4}">
                <adec:decorative xmlns:adec="http://schemas.microsoft.com/office/drawing/2017/decorative" val="1"/>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2117"/>
          </a:p>
        </p:txBody>
      </p:sp>
    </p:spTree>
    <p:extLst>
      <p:ext uri="{BB962C8B-B14F-4D97-AF65-F5344CB8AC3E}">
        <p14:creationId xmlns:p14="http://schemas.microsoft.com/office/powerpoint/2010/main" val="5641414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 uri="{C183D7F6-B498-43B3-948B-1728B52AA6E4}">
                <adec:decorative xmlns:adec="http://schemas.microsoft.com/office/drawing/2017/decorative" val="1"/>
              </a:ext>
            </a:extLst>
          </p:cNvPr>
          <p:cNvSpPr>
            <a:spLocks noChangeAspect="1"/>
          </p:cNvSpPr>
          <p:nvPr/>
        </p:nvSpPr>
        <p:spPr>
          <a:xfrm>
            <a:off x="998477" y="971551"/>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1"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2"/>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387103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2977465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 uri="{C183D7F6-B498-43B3-948B-1728B52AA6E4}">
                <adec:decorative xmlns:adec="http://schemas.microsoft.com/office/drawing/2017/decorative" val="1"/>
              </a:ext>
            </a:extLst>
          </p:cNvPr>
          <p:cNvSpPr>
            <a:spLocks noChangeAspect="1"/>
          </p:cNvSpPr>
          <p:nvPr/>
        </p:nvSpPr>
        <p:spPr>
          <a:xfrm>
            <a:off x="998477" y="971551"/>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1"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2"/>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12487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 uri="{C183D7F6-B498-43B3-948B-1728B52AA6E4}">
                <adec:decorative xmlns:adec="http://schemas.microsoft.com/office/drawing/2017/decorative" val="1"/>
              </a:ext>
            </a:extLst>
          </p:cNvPr>
          <p:cNvSpPr>
            <a:spLocks noChangeAspect="1"/>
          </p:cNvSpPr>
          <p:nvPr/>
        </p:nvSpPr>
        <p:spPr>
          <a:xfrm>
            <a:off x="998477" y="971551"/>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1"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2"/>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365251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935A1578-15A7-4FE7-8BC2-3ADC725AE7D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grpSp>
        <p:nvGrpSpPr>
          <p:cNvPr id="4" name="Group 3">
            <a:extLst>
              <a:ext uri="{FF2B5EF4-FFF2-40B4-BE49-F238E27FC236}">
                <a16:creationId xmlns:a16="http://schemas.microsoft.com/office/drawing/2014/main" id="{1C4D5492-D401-42A2-B377-EA27220983D3}"/>
              </a:ext>
              <a:ext uri="{C183D7F6-B498-43B3-948B-1728B52AA6E4}">
                <adec:decorative xmlns:adec="http://schemas.microsoft.com/office/drawing/2017/decorative" val="1"/>
              </a:ext>
            </a:extLst>
          </p:cNvPr>
          <p:cNvGrpSpPr/>
          <p:nvPr/>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3"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11" name="TextBox 10"/>
          <p:cNvSpPr txBox="1"/>
          <p:nvPr>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Public</a:t>
            </a:r>
          </a:p>
        </p:txBody>
      </p:sp>
    </p:spTree>
    <p:extLst>
      <p:ext uri="{BB962C8B-B14F-4D97-AF65-F5344CB8AC3E}">
        <p14:creationId xmlns:p14="http://schemas.microsoft.com/office/powerpoint/2010/main" val="36526550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A51C6BDD-4F02-45D2-886C-4899A473F7F7}"/>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grpSp>
        <p:nvGrpSpPr>
          <p:cNvPr id="18" name="Group 17">
            <a:extLst>
              <a:ext uri="{FF2B5EF4-FFF2-40B4-BE49-F238E27FC236}">
                <a16:creationId xmlns:a16="http://schemas.microsoft.com/office/drawing/2014/main" id="{3AD33E6D-5377-46E3-B1FF-E91C54D03F04}"/>
              </a:ext>
              <a:ext uri="{C183D7F6-B498-43B3-948B-1728B52AA6E4}">
                <adec:decorative xmlns:adec="http://schemas.microsoft.com/office/drawing/2017/decorative" val="1"/>
              </a:ext>
            </a:extLst>
          </p:cNvPr>
          <p:cNvGrpSpPr/>
          <p:nvPr/>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3"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11" name="TextBox 10"/>
          <p:cNvSpPr txBox="1"/>
          <p:nvPr>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p>
        </p:txBody>
      </p:sp>
    </p:spTree>
    <p:extLst>
      <p:ext uri="{BB962C8B-B14F-4D97-AF65-F5344CB8AC3E}">
        <p14:creationId xmlns:p14="http://schemas.microsoft.com/office/powerpoint/2010/main" val="38244384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p:nvSpPr>
        <p:spPr>
          <a:xfrm>
            <a:off x="998351" y="2246534"/>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p:nvSpPr>
        <p:spPr>
          <a:xfrm>
            <a:off x="998351" y="1731972"/>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p:nvSpPr>
        <p:spPr>
          <a:xfrm>
            <a:off x="998351" y="2761095"/>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p:nvSpPr>
        <p:spPr>
          <a:xfrm>
            <a:off x="998351" y="3275657"/>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p:nvSpPr>
        <p:spPr>
          <a:xfrm>
            <a:off x="2992848" y="1732479"/>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p:nvSpPr>
        <p:spPr>
          <a:xfrm>
            <a:off x="998351" y="3786712"/>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p:nvSpPr>
        <p:spPr>
          <a:xfrm>
            <a:off x="998351" y="4301272"/>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p:nvSpPr>
        <p:spPr>
          <a:xfrm>
            <a:off x="998351" y="4809440"/>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p:nvSpPr>
        <p:spPr>
          <a:xfrm>
            <a:off x="1921683"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30" name="TextBox 29">
            <a:extLst>
              <a:ext uri="{FF2B5EF4-FFF2-40B4-BE49-F238E27FC236}">
                <a16:creationId xmlns:a16="http://schemas.microsoft.com/office/drawing/2014/main" id="{B28A2D81-3A9C-47D3-8174-874F601607DC}"/>
              </a:ext>
            </a:extLst>
          </p:cNvPr>
          <p:cNvSpPr txBox="1"/>
          <p:nvPr/>
        </p:nvSpPr>
        <p:spPr>
          <a:xfrm>
            <a:off x="1921683"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p:nvSpPr>
        <p:spPr>
          <a:xfrm>
            <a:off x="1921683"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36" name="TextBox 35">
            <a:extLst>
              <a:ext uri="{FF2B5EF4-FFF2-40B4-BE49-F238E27FC236}">
                <a16:creationId xmlns:a16="http://schemas.microsoft.com/office/drawing/2014/main" id="{0A430D78-5EDB-481E-BB6D-67D8689BCE11}"/>
              </a:ext>
            </a:extLst>
          </p:cNvPr>
          <p:cNvSpPr txBox="1"/>
          <p:nvPr/>
        </p:nvSpPr>
        <p:spPr>
          <a:xfrm>
            <a:off x="3916180"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39" name="TextBox 38">
            <a:extLst>
              <a:ext uri="{FF2B5EF4-FFF2-40B4-BE49-F238E27FC236}">
                <a16:creationId xmlns:a16="http://schemas.microsoft.com/office/drawing/2014/main" id="{E42EE987-0425-4CD8-B75D-E3E8F8C2096D}"/>
              </a:ext>
            </a:extLst>
          </p:cNvPr>
          <p:cNvSpPr txBox="1"/>
          <p:nvPr/>
        </p:nvSpPr>
        <p:spPr>
          <a:xfrm>
            <a:off x="1921683"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45" name="TextBox 44">
            <a:extLst>
              <a:ext uri="{FF2B5EF4-FFF2-40B4-BE49-F238E27FC236}">
                <a16:creationId xmlns:a16="http://schemas.microsoft.com/office/drawing/2014/main" id="{1B01B4DF-404A-4544-B313-2720FCBDD0B4}"/>
              </a:ext>
            </a:extLst>
          </p:cNvPr>
          <p:cNvSpPr txBox="1"/>
          <p:nvPr/>
        </p:nvSpPr>
        <p:spPr>
          <a:xfrm>
            <a:off x="1921683" y="3874401"/>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p:nvSpPr>
        <p:spPr>
          <a:xfrm>
            <a:off x="1921683" y="4385458"/>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p:nvSpPr>
        <p:spPr>
          <a:xfrm>
            <a:off x="1921683" y="4896518"/>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9" name="Rectangle 8">
            <a:extLst>
              <a:ext uri="{FF2B5EF4-FFF2-40B4-BE49-F238E27FC236}">
                <a16:creationId xmlns:a16="http://schemas.microsoft.com/office/drawing/2014/main" id="{A4B6D9AD-8E94-4A62-B92C-C973F5486E37}"/>
              </a:ext>
            </a:extLst>
          </p:cNvPr>
          <p:cNvSpPr/>
          <p:nvPr/>
        </p:nvSpPr>
        <p:spPr>
          <a:xfrm>
            <a:off x="2999643" y="2243029"/>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p:nvSpPr>
        <p:spPr>
          <a:xfrm>
            <a:off x="2999643" y="2757591"/>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p:nvSpPr>
        <p:spPr>
          <a:xfrm>
            <a:off x="2992849" y="1330326"/>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p:nvSpPr>
        <p:spPr>
          <a:xfrm>
            <a:off x="2999643" y="3272152"/>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p:nvSpPr>
        <p:spPr>
          <a:xfrm>
            <a:off x="2999643" y="3786714"/>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p:nvSpPr>
        <p:spPr>
          <a:xfrm>
            <a:off x="2999643" y="4301274"/>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p:nvSpPr>
        <p:spPr>
          <a:xfrm>
            <a:off x="2999643" y="4809442"/>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p:nvSpPr>
        <p:spPr>
          <a:xfrm>
            <a:off x="2999643" y="5324002"/>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p:nvGrpSpPr>
        <p:grpSpPr>
          <a:xfrm>
            <a:off x="3971417" y="2341847"/>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p:nvSpPr>
        <p:spPr>
          <a:xfrm>
            <a:off x="5232206" y="1731972"/>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p:nvSpPr>
        <p:spPr>
          <a:xfrm>
            <a:off x="5232206" y="2246534"/>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p:nvSpPr>
        <p:spPr>
          <a:xfrm>
            <a:off x="5225411" y="1330326"/>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p:nvSpPr>
        <p:spPr>
          <a:xfrm>
            <a:off x="5232206" y="2761095"/>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p:nvSpPr>
        <p:spPr>
          <a:xfrm>
            <a:off x="5232206" y="3275657"/>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p:nvSpPr>
        <p:spPr>
          <a:xfrm>
            <a:off x="5232206" y="3790217"/>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p:nvSpPr>
        <p:spPr>
          <a:xfrm>
            <a:off x="6203980"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p:nvSpPr>
        <p:spPr>
          <a:xfrm>
            <a:off x="6203980"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p:nvSpPr>
        <p:spPr>
          <a:xfrm>
            <a:off x="6203980"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p:nvSpPr>
        <p:spPr>
          <a:xfrm>
            <a:off x="6203980"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p:nvSpPr>
        <p:spPr>
          <a:xfrm>
            <a:off x="6203980"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p:nvSpPr>
        <p:spPr>
          <a:xfrm>
            <a:off x="7170486" y="265617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p:nvSpPr>
        <p:spPr>
          <a:xfrm>
            <a:off x="9170078" y="265617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p:nvSpPr>
        <p:spPr>
          <a:xfrm>
            <a:off x="10053993" y="2743862"/>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GB" sz="1000" b="0" err="1">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p:nvSpPr>
        <p:spPr>
          <a:xfrm>
            <a:off x="5225411" y="4304595"/>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p:nvSpPr>
        <p:spPr>
          <a:xfrm>
            <a:off x="6197185"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73" name="TextBox 72">
            <a:extLst>
              <a:ext uri="{FF2B5EF4-FFF2-40B4-BE49-F238E27FC236}">
                <a16:creationId xmlns:a16="http://schemas.microsoft.com/office/drawing/2014/main" id="{66117D9B-6EF8-4B36-A112-FD6D19D0AE23}"/>
              </a:ext>
            </a:extLst>
          </p:cNvPr>
          <p:cNvSpPr txBox="1"/>
          <p:nvPr/>
        </p:nvSpPr>
        <p:spPr>
          <a:xfrm>
            <a:off x="7146554" y="3336982"/>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p:nvSpPr>
        <p:spPr>
          <a:xfrm>
            <a:off x="9353777" y="3589582"/>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p:nvSpPr>
        <p:spPr>
          <a:xfrm>
            <a:off x="8262131" y="3589582"/>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p:nvSpPr>
        <p:spPr>
          <a:xfrm>
            <a:off x="7170486" y="3589582"/>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p:nvSpPr>
        <p:spPr>
          <a:xfrm>
            <a:off x="7146554"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p:nvGrpSpPr>
        <p:grpSpPr>
          <a:xfrm>
            <a:off x="7170486" y="5015320"/>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86226727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Heading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38918-A630-B780-8F38-337540D991D6}"/>
              </a:ext>
            </a:extLst>
          </p:cNvPr>
          <p:cNvSpPr>
            <a:spLocks noGrp="1"/>
          </p:cNvSpPr>
          <p:nvPr>
            <p:ph type="title"/>
          </p:nvPr>
        </p:nvSpPr>
        <p:spPr/>
        <p:txBody>
          <a:bodyPr anchor="b"/>
          <a:lstStyle/>
          <a:p>
            <a:r>
              <a:rPr lang="en-GB"/>
              <a:t>Click to edit Master title style</a:t>
            </a:r>
            <a:endParaRPr lang="en-US"/>
          </a:p>
        </p:txBody>
      </p:sp>
      <p:sp>
        <p:nvSpPr>
          <p:cNvPr id="4" name="Text Placeholder 3">
            <a:extLst>
              <a:ext uri="{FF2B5EF4-FFF2-40B4-BE49-F238E27FC236}">
                <a16:creationId xmlns:a16="http://schemas.microsoft.com/office/drawing/2014/main" id="{99685497-E6F0-7EBE-E8E0-5D927FE0010B}"/>
              </a:ext>
            </a:extLst>
          </p:cNvPr>
          <p:cNvSpPr>
            <a:spLocks noGrp="1"/>
          </p:cNvSpPr>
          <p:nvPr>
            <p:ph type="body" sz="quarter" idx="10"/>
          </p:nvPr>
        </p:nvSpPr>
        <p:spPr>
          <a:xfrm>
            <a:off x="839789" y="439541"/>
            <a:ext cx="3090863" cy="229947"/>
          </a:xfrm>
        </p:spPr>
        <p:txBody>
          <a:bodyPr/>
          <a:lstStyle>
            <a:lvl1pPr marL="0" indent="0">
              <a:buFontTx/>
              <a:buNone/>
              <a:defRPr>
                <a:solidFill>
                  <a:schemeClr val="tx1">
                    <a:lumMod val="75000"/>
                    <a:lumOff val="25000"/>
                  </a:schemeClr>
                </a:solidFill>
              </a:defRPr>
            </a:lvl1pPr>
          </a:lstStyle>
          <a:p>
            <a:pPr lvl="0"/>
            <a:r>
              <a:rPr lang="en-GB"/>
              <a:t>Click to edit Master text styles</a:t>
            </a:r>
          </a:p>
        </p:txBody>
      </p:sp>
      <p:sp>
        <p:nvSpPr>
          <p:cNvPr id="5" name="Rounded Rectangle 4">
            <a:extLst>
              <a:ext uri="{FF2B5EF4-FFF2-40B4-BE49-F238E27FC236}">
                <a16:creationId xmlns:a16="http://schemas.microsoft.com/office/drawing/2014/main" id="{B0E27BEA-5F58-597E-BECB-FE0A56F86E1D}"/>
              </a:ext>
            </a:extLst>
          </p:cNvPr>
          <p:cNvSpPr/>
          <p:nvPr userDrawn="1"/>
        </p:nvSpPr>
        <p:spPr>
          <a:xfrm flipH="1">
            <a:off x="587376" y="329187"/>
            <a:ext cx="95531" cy="756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17"/>
          </a:p>
        </p:txBody>
      </p:sp>
    </p:spTree>
    <p:extLst>
      <p:ext uri="{BB962C8B-B14F-4D97-AF65-F5344CB8AC3E}">
        <p14:creationId xmlns:p14="http://schemas.microsoft.com/office/powerpoint/2010/main" val="2602880724"/>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6_One 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E7ACE-C766-4773-9A45-89352CB918B6}"/>
              </a:ext>
            </a:extLst>
          </p:cNvPr>
          <p:cNvGraphicFramePr>
            <a:graphicFrameLocks noChangeAspect="1"/>
          </p:cNvGraphicFramePr>
          <p:nvPr userDrawn="1">
            <p:custDataLst>
              <p:tags r:id="rId1"/>
            </p:custDataLst>
            <p:extLst>
              <p:ext uri="{D42A27DB-BD31-4B8C-83A1-F6EECF244321}">
                <p14:modId xmlns:p14="http://schemas.microsoft.com/office/powerpoint/2010/main" val="3800293522"/>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CF3E7ACE-C766-4773-9A45-89352CB918B6}"/>
                          </a:ext>
                        </a:extLst>
                      </p:cNvPr>
                      <p:cNvPicPr/>
                      <p:nvPr/>
                    </p:nvPicPr>
                    <p:blipFill>
                      <a:blip r:embed="rId4"/>
                      <a:stretch>
                        <a:fillRect/>
                      </a:stretch>
                    </p:blipFill>
                    <p:spPr>
                      <a:xfrm>
                        <a:off x="1812" y="1441"/>
                        <a:ext cx="1811" cy="1441"/>
                      </a:xfrm>
                      <a:prstGeom prst="rect">
                        <a:avLst/>
                      </a:prstGeom>
                    </p:spPr>
                  </p:pic>
                </p:oleObj>
              </mc:Fallback>
            </mc:AlternateContent>
          </a:graphicData>
        </a:graphic>
      </p:graphicFrame>
      <p:sp>
        <p:nvSpPr>
          <p:cNvPr id="2" name="Title 1"/>
          <p:cNvSpPr>
            <a:spLocks noGrp="1"/>
          </p:cNvSpPr>
          <p:nvPr>
            <p:ph type="title"/>
          </p:nvPr>
        </p:nvSpPr>
        <p:spPr>
          <a:xfrm>
            <a:off x="719667" y="368705"/>
            <a:ext cx="10752667" cy="518400"/>
          </a:xfrm>
        </p:spPr>
        <p:txBody>
          <a:bodyPr vert="horz"/>
          <a:lstStyle/>
          <a:p>
            <a:r>
              <a:rPr lang="en-US"/>
              <a:t>Click to edit Master title style</a:t>
            </a:r>
          </a:p>
        </p:txBody>
      </p:sp>
      <p:sp>
        <p:nvSpPr>
          <p:cNvPr id="4" name="Text Placeholder 4">
            <a:extLst>
              <a:ext uri="{FF2B5EF4-FFF2-40B4-BE49-F238E27FC236}">
                <a16:creationId xmlns:a16="http://schemas.microsoft.com/office/drawing/2014/main" id="{B307A7A8-905D-42E7-B7C5-0969F7057DA9}"/>
              </a:ext>
            </a:extLst>
          </p:cNvPr>
          <p:cNvSpPr>
            <a:spLocks noGrp="1"/>
          </p:cNvSpPr>
          <p:nvPr>
            <p:ph type="body" sz="quarter" idx="12" hasCustomPrompt="1"/>
          </p:nvPr>
        </p:nvSpPr>
        <p:spPr>
          <a:xfrm>
            <a:off x="719668" y="82475"/>
            <a:ext cx="10751999" cy="169200"/>
          </a:xfrm>
        </p:spPr>
        <p:txBody>
          <a:bodyPr anchor="b"/>
          <a:lstStyle>
            <a:lvl1pPr>
              <a:spcAft>
                <a:spcPts val="0"/>
              </a:spcAft>
              <a:defRPr sz="907" b="0">
                <a:solidFill>
                  <a:srgbClr val="00338D"/>
                </a:solidFill>
              </a:defRPr>
            </a:lvl1pPr>
          </a:lstStyle>
          <a:p>
            <a:pPr lvl="0"/>
            <a:r>
              <a:rPr lang="en-US"/>
              <a:t>Super title here</a:t>
            </a:r>
          </a:p>
        </p:txBody>
      </p:sp>
    </p:spTree>
    <p:extLst>
      <p:ext uri="{BB962C8B-B14F-4D97-AF65-F5344CB8AC3E}">
        <p14:creationId xmlns:p14="http://schemas.microsoft.com/office/powerpoint/2010/main" val="23311835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pic>
        <p:nvPicPr>
          <p:cNvPr id="3"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7230" y="6356509"/>
            <a:ext cx="731520" cy="255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11931016" y="6339364"/>
            <a:ext cx="260984" cy="5186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AU" sz="1620"/>
          </a:p>
        </p:txBody>
      </p:sp>
      <p:pic>
        <p:nvPicPr>
          <p:cNvPr id="5" name="Picture 12"/>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 y="0"/>
            <a:ext cx="133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p:cNvSpPr>
            <a:spLocks noGrp="1"/>
          </p:cNvSpPr>
          <p:nvPr>
            <p:ph type="title"/>
          </p:nvPr>
        </p:nvSpPr>
        <p:spPr>
          <a:xfrm>
            <a:off x="674400" y="342900"/>
            <a:ext cx="10843200" cy="615600"/>
          </a:xfrm>
        </p:spPr>
        <p:txBody>
          <a:bodyPr anchor="t"/>
          <a:lstStyle>
            <a:lvl1pPr algn="l">
              <a:defRPr sz="2520">
                <a:solidFill>
                  <a:schemeClr val="tx2"/>
                </a:solidFill>
              </a:defRPr>
            </a:lvl1pPr>
          </a:lstStyle>
          <a:p>
            <a:r>
              <a:rPr lang="en-US"/>
              <a:t>Click to edit Master title style</a:t>
            </a:r>
            <a:endParaRPr lang="en-AU"/>
          </a:p>
        </p:txBody>
      </p:sp>
      <p:sp>
        <p:nvSpPr>
          <p:cNvPr id="6" name="Slide Number Placeholder 3"/>
          <p:cNvSpPr>
            <a:spLocks noGrp="1"/>
          </p:cNvSpPr>
          <p:nvPr>
            <p:ph type="sldNum" sz="quarter" idx="10"/>
          </p:nvPr>
        </p:nvSpPr>
        <p:spPr/>
        <p:txBody>
          <a:bodyPr/>
          <a:lstStyle>
            <a:lvl1pPr algn="r">
              <a:defRPr sz="1080">
                <a:solidFill>
                  <a:schemeClr val="tx1"/>
                </a:solidFill>
              </a:defRPr>
            </a:lvl1pPr>
          </a:lstStyle>
          <a:p>
            <a:pPr>
              <a:defRPr/>
            </a:pPr>
            <a:fld id="{F9B8D1F2-4706-48D2-8F4B-0E72F4F17B3A}" type="slidenum">
              <a:rPr lang="en-AU"/>
              <a:pPr>
                <a:defRPr/>
              </a:pPr>
              <a:t>‹#›</a:t>
            </a:fld>
            <a:endParaRPr lang="en-AU"/>
          </a:p>
        </p:txBody>
      </p:sp>
    </p:spTree>
    <p:extLst>
      <p:ext uri="{BB962C8B-B14F-4D97-AF65-F5344CB8AC3E}">
        <p14:creationId xmlns:p14="http://schemas.microsoft.com/office/powerpoint/2010/main" val="34507636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Logo Hero 02">
    <p:bg>
      <p:bgPr>
        <a:solidFill>
          <a:srgbClr val="00338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27E24E-C5A8-4BB6-8826-0C70ABCC77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85" t="1" r="25611" b="44121"/>
          <a:stretch/>
        </p:blipFill>
        <p:spPr>
          <a:xfrm>
            <a:off x="0" y="0"/>
            <a:ext cx="12192000" cy="6858000"/>
          </a:xfrm>
          <a:prstGeom prst="rect">
            <a:avLst/>
          </a:prstGeom>
        </p:spPr>
      </p:pic>
    </p:spTree>
    <p:extLst>
      <p:ext uri="{BB962C8B-B14F-4D97-AF65-F5344CB8AC3E}">
        <p14:creationId xmlns:p14="http://schemas.microsoft.com/office/powerpoint/2010/main" val="218529216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EXEC_SUM - FULL SCREE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49C99A-FDCC-B37D-EF02-2A8AC6BAAC19}"/>
              </a:ext>
            </a:extLst>
          </p:cNvPr>
          <p:cNvSpPr/>
          <p:nvPr userDrawn="1"/>
        </p:nvSpPr>
        <p:spPr>
          <a:xfrm>
            <a:off x="594360" y="5545183"/>
            <a:ext cx="10953206" cy="9862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sp>
        <p:nvSpPr>
          <p:cNvPr id="4" name="Shape 8">
            <a:extLst>
              <a:ext uri="{FF2B5EF4-FFF2-40B4-BE49-F238E27FC236}">
                <a16:creationId xmlns:a16="http://schemas.microsoft.com/office/drawing/2014/main" id="{3D3DF92D-4866-0DFF-F0C1-7201732C7793}"/>
              </a:ext>
            </a:extLst>
          </p:cNvPr>
          <p:cNvSpPr txBox="1">
            <a:spLocks/>
          </p:cNvSpPr>
          <p:nvPr userDrawn="1"/>
        </p:nvSpPr>
        <p:spPr>
          <a:xfrm>
            <a:off x="11880598" y="6636575"/>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FAE8D8A0-E806-9E45-4B9B-B038EC66A55D}"/>
              </a:ext>
              <a:ext uri="{C183D7F6-B498-43B3-948B-1728B52AA6E4}">
                <adec:decorative xmlns:adec="http://schemas.microsoft.com/office/drawing/2017/decorative" val="1"/>
              </a:ext>
            </a:extLst>
          </p:cNvPr>
          <p:cNvSpPr txBox="1"/>
          <p:nvPr userDrawn="1">
            <p:custDataLst>
              <p:tags r:id="rId1"/>
            </p:custDataLst>
          </p:nvPr>
        </p:nvSpPr>
        <p:spPr>
          <a:xfrm>
            <a:off x="9967099" y="6665115"/>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cxnSp>
        <p:nvCxnSpPr>
          <p:cNvPr id="6" name="Straight Connector 5">
            <a:extLst>
              <a:ext uri="{FF2B5EF4-FFF2-40B4-BE49-F238E27FC236}">
                <a16:creationId xmlns:a16="http://schemas.microsoft.com/office/drawing/2014/main" id="{0DCBE401-D38E-FCBB-FD74-477281901165}"/>
              </a:ext>
            </a:extLst>
          </p:cNvPr>
          <p:cNvCxnSpPr>
            <a:cxnSpLocks/>
          </p:cNvCxnSpPr>
          <p:nvPr userDrawn="1"/>
        </p:nvCxnSpPr>
        <p:spPr>
          <a:xfrm>
            <a:off x="11927853" y="6636575"/>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F66E4B8-DB80-D3F0-F00E-6C38FBD7A37C}"/>
              </a:ext>
              <a:ext uri="{C183D7F6-B498-43B3-948B-1728B52AA6E4}">
                <adec:decorative xmlns:adec="http://schemas.microsoft.com/office/drawing/2017/decorative" val="1"/>
              </a:ext>
            </a:extLst>
          </p:cNvPr>
          <p:cNvSpPr txBox="1"/>
          <p:nvPr userDrawn="1"/>
        </p:nvSpPr>
        <p:spPr>
          <a:xfrm>
            <a:off x="951401" y="661794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3 KPMG Australia, an Australian partnership and a member firm of the KPMG global organization of independent member firms affiliated with KPMG International Limited, a private English company limited by guarantee. All rights reserved.</a:t>
            </a:r>
          </a:p>
        </p:txBody>
      </p:sp>
      <p:sp>
        <p:nvSpPr>
          <p:cNvPr id="8" name="Graphic 8">
            <a:extLst>
              <a:ext uri="{FF2B5EF4-FFF2-40B4-BE49-F238E27FC236}">
                <a16:creationId xmlns:a16="http://schemas.microsoft.com/office/drawing/2014/main" id="{7CAB8012-6F19-FDDC-24D9-059E68376106}"/>
              </a:ext>
            </a:extLst>
          </p:cNvPr>
          <p:cNvSpPr/>
          <p:nvPr userDrawn="1"/>
        </p:nvSpPr>
        <p:spPr>
          <a:xfrm>
            <a:off x="68916" y="6612927"/>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65996722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_White text">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BE044D-7064-9CBE-AB08-D42B7C4395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2" t="3137" r="3345" b="2940"/>
          <a:stretch/>
        </p:blipFill>
        <p:spPr>
          <a:xfrm>
            <a:off x="1" y="1"/>
            <a:ext cx="12192320" cy="6858000"/>
          </a:xfrm>
          <a:prstGeom prst="rect">
            <a:avLst/>
          </a:prstGeom>
        </p:spPr>
      </p:pic>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42388618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5F949-D1EA-4674-9069-65F999879040}"/>
              </a:ext>
            </a:extLst>
          </p:cNvPr>
          <p:cNvSpPr>
            <a:spLocks noGrp="1"/>
          </p:cNvSpPr>
          <p:nvPr>
            <p:ph type="title"/>
          </p:nvPr>
        </p:nvSpPr>
        <p:spPr/>
        <p:txBody>
          <a:bodyPr/>
          <a:lstStyle/>
          <a:p>
            <a:r>
              <a:rPr lang="en-US"/>
              <a:t>Click to edit Master title style</a:t>
            </a:r>
            <a:endParaRPr lang="en-AU"/>
          </a:p>
        </p:txBody>
      </p:sp>
      <p:sp>
        <p:nvSpPr>
          <p:cNvPr id="3" name="Text Placeholder 4">
            <a:extLst>
              <a:ext uri="{FF2B5EF4-FFF2-40B4-BE49-F238E27FC236}">
                <a16:creationId xmlns:a16="http://schemas.microsoft.com/office/drawing/2014/main" id="{EDFDA8DE-4422-4BEE-80C7-7AFBACA3690A}"/>
              </a:ext>
            </a:extLst>
          </p:cNvPr>
          <p:cNvSpPr>
            <a:spLocks noGrp="1"/>
          </p:cNvSpPr>
          <p:nvPr>
            <p:ph type="body" sz="quarter" idx="12" hasCustomPrompt="1"/>
          </p:nvPr>
        </p:nvSpPr>
        <p:spPr>
          <a:xfrm>
            <a:off x="719666" y="368200"/>
            <a:ext cx="10752000" cy="169201"/>
          </a:xfrm>
        </p:spPr>
        <p:txBody>
          <a:bodyPr anchor="b"/>
          <a:lstStyle>
            <a:lvl1pPr>
              <a:spcAft>
                <a:spcPts val="0"/>
              </a:spcAft>
              <a:defRPr sz="684" b="0">
                <a:solidFill>
                  <a:schemeClr val="accent1"/>
                </a:solidFill>
              </a:defRPr>
            </a:lvl1pPr>
          </a:lstStyle>
          <a:p>
            <a:pPr lvl="0"/>
            <a:r>
              <a:rPr lang="en-US"/>
              <a:t>Super title here</a:t>
            </a:r>
          </a:p>
        </p:txBody>
      </p:sp>
    </p:spTree>
    <p:extLst>
      <p:ext uri="{BB962C8B-B14F-4D97-AF65-F5344CB8AC3E}">
        <p14:creationId xmlns:p14="http://schemas.microsoft.com/office/powerpoint/2010/main" val="33573945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Integration &amp; I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574E2BF-2497-AC89-B3ED-DD3A94B923FF}"/>
              </a:ext>
            </a:extLst>
          </p:cNvPr>
          <p:cNvGraphicFramePr>
            <a:graphicFrameLocks noChangeAspect="1"/>
          </p:cNvGraphicFramePr>
          <p:nvPr userDrawn="1">
            <p:custDataLst>
              <p:tags r:id="rId1"/>
            </p:custDataLst>
            <p:extLst>
              <p:ext uri="{D42A27DB-BD31-4B8C-83A1-F6EECF244321}">
                <p14:modId xmlns:p14="http://schemas.microsoft.com/office/powerpoint/2010/main" val="1281465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3574E2BF-2497-AC89-B3ED-DD3A94B923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close up of a human head&#10;&#10;Description automatically generated">
            <a:extLst>
              <a:ext uri="{FF2B5EF4-FFF2-40B4-BE49-F238E27FC236}">
                <a16:creationId xmlns:a16="http://schemas.microsoft.com/office/drawing/2014/main" id="{451A5A63-880A-51CE-ED49-D11C9A56841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47406" t="33138" b="19269"/>
          <a:stretch/>
        </p:blipFill>
        <p:spPr>
          <a:xfrm flipH="1">
            <a:off x="-2" y="0"/>
            <a:ext cx="12192002" cy="6858000"/>
          </a:xfrm>
          <a:prstGeom prst="rect">
            <a:avLst/>
          </a:prstGeom>
        </p:spPr>
      </p:pic>
      <p:sp>
        <p:nvSpPr>
          <p:cNvPr id="3" name="Rectangle 2">
            <a:extLst>
              <a:ext uri="{FF2B5EF4-FFF2-40B4-BE49-F238E27FC236}">
                <a16:creationId xmlns:a16="http://schemas.microsoft.com/office/drawing/2014/main" id="{FD756666-5365-6F7E-C668-C4C826852B75}"/>
              </a:ext>
            </a:extLst>
          </p:cNvPr>
          <p:cNvSpPr/>
          <p:nvPr userDrawn="1"/>
        </p:nvSpPr>
        <p:spPr>
          <a:xfrm>
            <a:off x="0" y="-4214"/>
            <a:ext cx="6609144" cy="6858000"/>
          </a:xfrm>
          <a:prstGeom prst="rect">
            <a:avLst/>
          </a:prstGeom>
          <a:gradFill>
            <a:gsLst>
              <a:gs pos="0">
                <a:schemeClr val="tx2"/>
              </a:gs>
              <a:gs pos="100000">
                <a:schemeClr val="tx2">
                  <a:alpha val="0"/>
                </a:schemeClr>
              </a:gs>
              <a:gs pos="74000">
                <a:schemeClr val="tx2">
                  <a:alpha val="3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a:solidFill>
                <a:schemeClr val="bg1"/>
              </a:solidFill>
            </a:endParaRPr>
          </a:p>
        </p:txBody>
      </p:sp>
      <p:sp>
        <p:nvSpPr>
          <p:cNvPr id="4" name="Rectangle 3">
            <a:extLst>
              <a:ext uri="{FF2B5EF4-FFF2-40B4-BE49-F238E27FC236}">
                <a16:creationId xmlns:a16="http://schemas.microsoft.com/office/drawing/2014/main" id="{957769F5-7D16-8B55-9E40-9679EB259B34}"/>
              </a:ext>
            </a:extLst>
          </p:cNvPr>
          <p:cNvSpPr/>
          <p:nvPr userDrawn="1"/>
        </p:nvSpPr>
        <p:spPr>
          <a:xfrm>
            <a:off x="-1" y="0"/>
            <a:ext cx="7304292" cy="6857144"/>
          </a:xfrm>
          <a:prstGeom prst="rect">
            <a:avLst/>
          </a:prstGeom>
          <a:gradFill>
            <a:gsLst>
              <a:gs pos="73000">
                <a:srgbClr val="061E41">
                  <a:alpha val="68000"/>
                </a:srgbClr>
              </a:gs>
              <a:gs pos="33000">
                <a:schemeClr val="accent2">
                  <a:lumMod val="50000"/>
                </a:schemeClr>
              </a:gs>
              <a:gs pos="100000">
                <a:schemeClr val="accent2">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sp>
        <p:nvSpPr>
          <p:cNvPr id="355" name="Title 11">
            <a:extLst>
              <a:ext uri="{FF2B5EF4-FFF2-40B4-BE49-F238E27FC236}">
                <a16:creationId xmlns:a16="http://schemas.microsoft.com/office/drawing/2014/main" id="{B118C811-B583-DCB2-8C31-E46DDB609768}"/>
              </a:ext>
            </a:extLst>
          </p:cNvPr>
          <p:cNvSpPr>
            <a:spLocks noGrp="1"/>
          </p:cNvSpPr>
          <p:nvPr>
            <p:ph type="title" hasCustomPrompt="1"/>
          </p:nvPr>
        </p:nvSpPr>
        <p:spPr>
          <a:xfrm>
            <a:off x="1003200" y="965877"/>
            <a:ext cx="10468800" cy="603000"/>
          </a:xfrm>
        </p:spPr>
        <p:txBody>
          <a:bodyPr vert="horz"/>
          <a:lstStyle>
            <a:lvl1pPr>
              <a:defRPr>
                <a:solidFill>
                  <a:schemeClr val="bg1"/>
                </a:solidFill>
              </a:defRPr>
            </a:lvl1pPr>
          </a:lstStyle>
          <a:p>
            <a:r>
              <a:rPr lang="en-US"/>
              <a:t>Click to edit </a:t>
            </a:r>
            <a:br>
              <a:rPr lang="en-US"/>
            </a:br>
            <a:r>
              <a:rPr lang="en-US"/>
              <a:t>Master title style</a:t>
            </a:r>
          </a:p>
        </p:txBody>
      </p:sp>
      <p:grpSp>
        <p:nvGrpSpPr>
          <p:cNvPr id="5" name="Group 4">
            <a:extLst>
              <a:ext uri="{FF2B5EF4-FFF2-40B4-BE49-F238E27FC236}">
                <a16:creationId xmlns:a16="http://schemas.microsoft.com/office/drawing/2014/main" id="{4ACA2855-65BA-A9E7-B87E-ABA61E6C95ED}"/>
              </a:ext>
            </a:extLst>
          </p:cNvPr>
          <p:cNvGrpSpPr/>
          <p:nvPr userDrawn="1"/>
        </p:nvGrpSpPr>
        <p:grpSpPr>
          <a:xfrm>
            <a:off x="0" y="0"/>
            <a:ext cx="12191999" cy="6858000"/>
            <a:chOff x="-56345" y="0"/>
            <a:chExt cx="12248344" cy="6862217"/>
          </a:xfrm>
        </p:grpSpPr>
        <p:pic>
          <p:nvPicPr>
            <p:cNvPr id="6" name="Picture 5" descr="A blue glowing human head&#10;&#10;Description automatically generated">
              <a:extLst>
                <a:ext uri="{FF2B5EF4-FFF2-40B4-BE49-F238E27FC236}">
                  <a16:creationId xmlns:a16="http://schemas.microsoft.com/office/drawing/2014/main" id="{10B419CE-7C36-961D-27E4-2B479462C5F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7031" t="20226" r="11287" b="-49"/>
            <a:stretch/>
          </p:blipFill>
          <p:spPr>
            <a:xfrm flipH="1">
              <a:off x="2721371" y="0"/>
              <a:ext cx="9470628" cy="6862217"/>
            </a:xfrm>
            <a:prstGeom prst="rect">
              <a:avLst/>
            </a:prstGeom>
          </p:spPr>
        </p:pic>
        <p:sp>
          <p:nvSpPr>
            <p:cNvPr id="7" name="Rectangle 6">
              <a:extLst>
                <a:ext uri="{FF2B5EF4-FFF2-40B4-BE49-F238E27FC236}">
                  <a16:creationId xmlns:a16="http://schemas.microsoft.com/office/drawing/2014/main" id="{DE8522DA-640E-8EAC-DFEF-D1D07A43E499}"/>
                </a:ext>
              </a:extLst>
            </p:cNvPr>
            <p:cNvSpPr/>
            <p:nvPr userDrawn="1"/>
          </p:nvSpPr>
          <p:spPr>
            <a:xfrm>
              <a:off x="-56345" y="0"/>
              <a:ext cx="9644098" cy="6857144"/>
            </a:xfrm>
            <a:prstGeom prst="rect">
              <a:avLst/>
            </a:prstGeom>
            <a:gradFill>
              <a:gsLst>
                <a:gs pos="73000">
                  <a:srgbClr val="061E41">
                    <a:alpha val="68000"/>
                  </a:srgbClr>
                </a:gs>
                <a:gs pos="32000">
                  <a:schemeClr val="accent2">
                    <a:lumMod val="50000"/>
                  </a:schemeClr>
                </a:gs>
                <a:gs pos="100000">
                  <a:schemeClr val="accent2">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grpSp>
    </p:spTree>
    <p:extLst>
      <p:ext uri="{BB962C8B-B14F-4D97-AF65-F5344CB8AC3E}">
        <p14:creationId xmlns:p14="http://schemas.microsoft.com/office/powerpoint/2010/main" val="5779393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image" Target="../media/image3.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theme" Target="../theme/theme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image" Target="../media/image20.svg"/><Relationship Id="rId20" Type="http://schemas.openxmlformats.org/officeDocument/2006/relationships/slideLayout" Target="../slideLayouts/slideLayout68.xml"/><Relationship Id="rId41"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Graphic 8">
            <a:extLst>
              <a:ext uri="{FF2B5EF4-FFF2-40B4-BE49-F238E27FC236}">
                <a16:creationId xmlns:a16="http://schemas.microsoft.com/office/drawing/2014/main" id="{04ADE01D-77D0-40C8-5C93-61B1B6DF895C}"/>
              </a:ext>
            </a:extLst>
          </p:cNvPr>
          <p:cNvSpPr/>
          <p:nvPr userDrawn="1"/>
        </p:nvSpPr>
        <p:spPr>
          <a:xfrm>
            <a:off x="1003200" y="6204504"/>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6" name="Shape 8">
            <a:extLst>
              <a:ext uri="{FF2B5EF4-FFF2-40B4-BE49-F238E27FC236}">
                <a16:creationId xmlns:a16="http://schemas.microsoft.com/office/drawing/2014/main" id="{72D8BF44-A968-111C-C797-9EA965508CB6}"/>
              </a:ext>
            </a:extLst>
          </p:cNvPr>
          <p:cNvSpPr txBox="1">
            <a:spLocks/>
          </p:cNvSpPr>
          <p:nvPr userDrawn="1"/>
        </p:nvSpPr>
        <p:spPr>
          <a:xfrm>
            <a:off x="10952564" y="6204504"/>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lumMod val="65000"/>
                  </a:schemeClr>
                </a:solidFill>
                <a:latin typeface="+mn-lt"/>
                <a:ea typeface="Arial"/>
                <a:cs typeface="Arial" panose="020B0604020202020204" pitchFamily="34" charset="0"/>
              </a:rPr>
              <a:pPr algn="r"/>
              <a:t>‹#›</a:t>
            </a:fld>
            <a:endParaRPr lang="en-GB" sz="1000" dirty="0">
              <a:solidFill>
                <a:schemeClr val="bg1">
                  <a:lumMod val="65000"/>
                </a:schemeClr>
              </a:solidFill>
              <a:latin typeface="+mn-lt"/>
              <a:ea typeface="Arial"/>
              <a:cs typeface="Arial" panose="020B0604020202020204" pitchFamily="34" charset="0"/>
            </a:endParaRPr>
          </a:p>
        </p:txBody>
      </p:sp>
      <p:cxnSp>
        <p:nvCxnSpPr>
          <p:cNvPr id="9" name="Straight Connector 8">
            <a:extLst>
              <a:ext uri="{FF2B5EF4-FFF2-40B4-BE49-F238E27FC236}">
                <a16:creationId xmlns:a16="http://schemas.microsoft.com/office/drawing/2014/main" id="{3B0ED603-335B-6CD3-9489-E0E533C5932B}"/>
              </a:ext>
            </a:extLst>
          </p:cNvPr>
          <p:cNvCxnSpPr>
            <a:cxnSpLocks/>
          </p:cNvCxnSpPr>
          <p:nvPr userDrawn="1"/>
        </p:nvCxnSpPr>
        <p:spPr>
          <a:xfrm>
            <a:off x="10934505" y="6204504"/>
            <a:ext cx="0" cy="149412"/>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D5670AC-7910-AFDF-9EA7-92D99D6ECFFC}"/>
              </a:ext>
            </a:extLst>
          </p:cNvPr>
          <p:cNvSpPr/>
          <p:nvPr userDrawn="1"/>
        </p:nvSpPr>
        <p:spPr>
          <a:xfrm>
            <a:off x="1712209" y="6431336"/>
            <a:ext cx="3712555" cy="123111"/>
          </a:xfrm>
          <a:prstGeom prst="rect">
            <a:avLst/>
          </a:prstGeom>
        </p:spPr>
        <p:txBody>
          <a:bodyPr wrap="none" lIns="0" tIns="0" rIns="0" bIns="0">
            <a:spAutoFit/>
          </a:bodyPr>
          <a:lstStyle/>
          <a:p>
            <a:pPr algn="l"/>
            <a:r>
              <a:rPr lang="en-AU" altLang="en-US" sz="800" dirty="0">
                <a:solidFill>
                  <a:schemeClr val="bg1">
                    <a:lumMod val="65000"/>
                  </a:schemeClr>
                </a:solidFill>
                <a:latin typeface="Arial" panose="020B0604020202020204" pitchFamily="34" charset="0"/>
              </a:rPr>
              <a:t>Liability limited by a scheme approved under Professional Standards Legislation.</a:t>
            </a:r>
            <a:r>
              <a:rPr lang="en-AU" altLang="en-US" sz="800" baseline="0" dirty="0">
                <a:solidFill>
                  <a:schemeClr val="bg1">
                    <a:lumMod val="65000"/>
                  </a:schemeClr>
                </a:solidFill>
                <a:latin typeface="Arial" panose="020B0604020202020204" pitchFamily="34" charset="0"/>
              </a:rPr>
              <a:t> </a:t>
            </a:r>
            <a:endParaRPr lang="en-AU" sz="1984" dirty="0">
              <a:solidFill>
                <a:schemeClr val="bg1">
                  <a:lumMod val="65000"/>
                </a:schemeClr>
              </a:solidFill>
            </a:endParaRPr>
          </a:p>
        </p:txBody>
      </p:sp>
      <p:sp>
        <p:nvSpPr>
          <p:cNvPr id="11" name="TextBox 10">
            <a:extLst>
              <a:ext uri="{FF2B5EF4-FFF2-40B4-BE49-F238E27FC236}">
                <a16:creationId xmlns:a16="http://schemas.microsoft.com/office/drawing/2014/main" id="{B4AA1E6B-04A2-314B-542F-B2BAC49530C3}"/>
              </a:ext>
            </a:extLst>
          </p:cNvPr>
          <p:cNvSpPr txBox="1"/>
          <p:nvPr userDrawn="1">
            <p:custDataLst>
              <p:tags r:id="rId50"/>
            </p:custDataLst>
          </p:nvPr>
        </p:nvSpPr>
        <p:spPr>
          <a:xfrm>
            <a:off x="6150832" y="6296487"/>
            <a:ext cx="3600000"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lumMod val="65000"/>
                  </a:schemeClr>
                </a:solidFill>
                <a:latin typeface="+mn-lt"/>
                <a:ea typeface="+mn-ea"/>
                <a:cs typeface="+mn-cs"/>
              </a:rPr>
              <a:t>Document Classification: KPMG Confidential</a:t>
            </a:r>
            <a:endParaRPr lang="en-US" sz="600" kern="1200" noProof="0" dirty="0">
              <a:solidFill>
                <a:schemeClr val="bg1">
                  <a:lumMod val="65000"/>
                </a:schemeClr>
              </a:solidFill>
              <a:latin typeface="+mn-lt"/>
              <a:ea typeface="+mn-ea"/>
              <a:cs typeface="+mn-cs"/>
            </a:endParaRPr>
          </a:p>
        </p:txBody>
      </p:sp>
      <p:sp>
        <p:nvSpPr>
          <p:cNvPr id="7" name="TextBox 6">
            <a:extLst>
              <a:ext uri="{FF2B5EF4-FFF2-40B4-BE49-F238E27FC236}">
                <a16:creationId xmlns:a16="http://schemas.microsoft.com/office/drawing/2014/main" id="{AFF2B7DF-F83A-33A4-0C8E-AE8076D015C3}"/>
              </a:ext>
              <a:ext uri="{C183D7F6-B498-43B3-948B-1728B52AA6E4}">
                <adec:decorative xmlns:adec="http://schemas.microsoft.com/office/drawing/2017/decorative" val="1"/>
              </a:ext>
            </a:extLst>
          </p:cNvPr>
          <p:cNvSpPr txBox="1"/>
          <p:nvPr userDrawn="1">
            <p:custDataLst>
              <p:tags r:id="rId51"/>
            </p:custDataLst>
          </p:nvPr>
        </p:nvSpPr>
        <p:spPr>
          <a:xfrm>
            <a:off x="1712209" y="6204504"/>
            <a:ext cx="7960218" cy="92333"/>
          </a:xfrm>
          <a:prstGeom prst="rect">
            <a:avLst/>
          </a:prstGeom>
          <a:noFill/>
        </p:spPr>
        <p:txBody>
          <a:bodyPr wrap="square" lIns="0" tIns="0" rIns="0" bIns="0" rtlCol="0">
            <a:spAutoFit/>
          </a:bodyPr>
          <a:lstStyle/>
          <a:p>
            <a:pPr algn="l" eaLnBrk="1" hangingPunct="1"/>
            <a:r>
              <a:rPr lang="en-AU" altLang="en-US" sz="600">
                <a:solidFill>
                  <a:schemeClr val="bg1">
                    <a:lumMod val="65000"/>
                  </a:schemeClr>
                </a:solidFill>
                <a:latin typeface="Arial" panose="020B0604020202020204" pitchFamily="34" charset="0"/>
              </a:rPr>
              <a:t>Document Classification: KPMG Confidential</a:t>
            </a:r>
            <a:endParaRPr lang="en-AU" altLang="en-US" sz="600" b="1" dirty="0">
              <a:solidFill>
                <a:schemeClr val="bg1">
                  <a:lumMod val="65000"/>
                </a:schemeClr>
              </a:solidFill>
              <a:latin typeface="Arial" panose="020B0604020202020204" pitchFamily="34" charset="0"/>
            </a:endParaRPr>
          </a:p>
        </p:txBody>
      </p:sp>
    </p:spTree>
    <p:extLst>
      <p:ext uri="{BB962C8B-B14F-4D97-AF65-F5344CB8AC3E}">
        <p14:creationId xmlns:p14="http://schemas.microsoft.com/office/powerpoint/2010/main" val="97773876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 id="2147483758" r:id="rId41"/>
    <p:sldLayoutId id="2147483759" r:id="rId42"/>
    <p:sldLayoutId id="2147483760" r:id="rId43"/>
    <p:sldLayoutId id="2147483761" r:id="rId44"/>
    <p:sldLayoutId id="2147483762" r:id="rId45"/>
    <p:sldLayoutId id="2147483763" r:id="rId46"/>
    <p:sldLayoutId id="2147483764" r:id="rId47"/>
    <p:sldLayoutId id="2147483765" r:id="rId48"/>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5"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3"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descr="{&quot;templafy&quot;:{&quot;id&quot;:&quot;635faaed-34cb-417a-a631-67739a04ee7e&quot;}}">
            <a:extLst>
              <a:ext uri="{FF2B5EF4-FFF2-40B4-BE49-F238E27FC236}">
                <a16:creationId xmlns:a16="http://schemas.microsoft.com/office/drawing/2014/main" id="{FFE6EE45-0BE7-D02A-45E9-AAF68693E3BB}"/>
              </a:ext>
              <a:ext uri="{C183D7F6-B498-43B3-948B-1728B52AA6E4}">
                <adec:decorative xmlns:adec="http://schemas.microsoft.com/office/drawing/2017/decorative" val="1"/>
              </a:ext>
            </a:extLst>
          </p:cNvPr>
          <p:cNvSpPr txBox="1"/>
          <p:nvPr userDrawn="1"/>
        </p:nvSpPr>
        <p:spPr>
          <a:xfrm>
            <a:off x="1783964" y="6235373"/>
            <a:ext cx="735558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kern="1200" noProof="0">
                <a:solidFill>
                  <a:schemeClr val="bg1">
                    <a:lumMod val="65000"/>
                  </a:schemeClr>
                </a:solidFill>
                <a:latin typeface="+mn-lt"/>
                <a:ea typeface="+mn-ea"/>
                <a:cs typeface="+mn-cs"/>
              </a:rPr>
              <a:t>©2024 KPMG, an Australian partnership and a member firm of the KPMG global organisation of independent member firms affiliated with KPMG International Limited, a private English company limited by guarantee. All rights reserved. The KPMG name and logo are trademarks used under license by the independent member firms of the KPMG global organisation. Document Classification: KPMG Confidential
</a:t>
            </a:r>
          </a:p>
        </p:txBody>
      </p:sp>
      <p:pic>
        <p:nvPicPr>
          <p:cNvPr id="9" name="Graphic 8">
            <a:extLst>
              <a:ext uri="{FF2B5EF4-FFF2-40B4-BE49-F238E27FC236}">
                <a16:creationId xmlns:a16="http://schemas.microsoft.com/office/drawing/2014/main" id="{A954E6D7-4CAB-77A4-9E30-4B6045B64A75}"/>
              </a:ext>
            </a:extLst>
          </p:cNvPr>
          <p:cNvPicPr>
            <a:picLocks noChangeAspect="1"/>
          </p:cNvPicPr>
          <p:nvPr userDrawn="1"/>
        </p:nvPicPr>
        <p:blipFill>
          <a:blip r:embed="rId45">
            <a:extLst>
              <a:ext uri="{96DAC541-7B7A-43D3-8B79-37D633B846F1}">
                <asvg:svgBlip xmlns:asvg="http://schemas.microsoft.com/office/drawing/2016/SVG/main" r:embed="rId46"/>
              </a:ext>
            </a:extLst>
          </a:blip>
          <a:stretch>
            <a:fillRect/>
          </a:stretch>
        </p:blipFill>
        <p:spPr>
          <a:xfrm>
            <a:off x="1012825" y="6241306"/>
            <a:ext cx="428967" cy="172800"/>
          </a:xfrm>
          <a:prstGeom prst="rect">
            <a:avLst/>
          </a:prstGeom>
        </p:spPr>
      </p:pic>
      <p:sp>
        <p:nvSpPr>
          <p:cNvPr id="10" name="Rectangle 9">
            <a:extLst>
              <a:ext uri="{FF2B5EF4-FFF2-40B4-BE49-F238E27FC236}">
                <a16:creationId xmlns:a16="http://schemas.microsoft.com/office/drawing/2014/main" id="{FDEEE5CC-22C6-28C4-0D2E-EEF19B277C38}"/>
              </a:ext>
            </a:extLst>
          </p:cNvPr>
          <p:cNvSpPr/>
          <p:nvPr userDrawn="1"/>
        </p:nvSpPr>
        <p:spPr>
          <a:xfrm>
            <a:off x="1783964" y="6466095"/>
            <a:ext cx="3712555" cy="123111"/>
          </a:xfrm>
          <a:prstGeom prst="rect">
            <a:avLst/>
          </a:prstGeom>
        </p:spPr>
        <p:txBody>
          <a:bodyPr wrap="none" lIns="0" tIns="0" rIns="0" bIns="0">
            <a:spAutoFit/>
          </a:bodyPr>
          <a:lstStyle/>
          <a:p>
            <a:pPr algn="l"/>
            <a:r>
              <a:rPr lang="en-AU" altLang="en-US" sz="800">
                <a:solidFill>
                  <a:schemeClr val="bg1">
                    <a:lumMod val="65000"/>
                  </a:schemeClr>
                </a:solidFill>
                <a:latin typeface="Arial" panose="020B0604020202020204" pitchFamily="34" charset="0"/>
              </a:rPr>
              <a:t>Liability limited by a scheme approved under Professional Standards Legislation.</a:t>
            </a:r>
            <a:r>
              <a:rPr lang="en-AU" altLang="en-US" sz="800" baseline="0">
                <a:solidFill>
                  <a:schemeClr val="bg1">
                    <a:lumMod val="65000"/>
                  </a:schemeClr>
                </a:solidFill>
                <a:latin typeface="Arial" panose="020B0604020202020204" pitchFamily="34" charset="0"/>
              </a:rPr>
              <a:t> </a:t>
            </a:r>
            <a:endParaRPr lang="en-AU" sz="1984">
              <a:solidFill>
                <a:schemeClr val="bg1">
                  <a:lumMod val="65000"/>
                </a:schemeClr>
              </a:solidFill>
            </a:endParaRPr>
          </a:p>
        </p:txBody>
      </p:sp>
    </p:spTree>
    <p:extLst>
      <p:ext uri="{BB962C8B-B14F-4D97-AF65-F5344CB8AC3E}">
        <p14:creationId xmlns:p14="http://schemas.microsoft.com/office/powerpoint/2010/main" val="17943293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48.xml"/><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48.xml"/><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48.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 name="Picture 12" descr="A person holding a pen and paper&#10;&#10;AI-generated content may be incorrect.">
            <a:extLst>
              <a:ext uri="{FF2B5EF4-FFF2-40B4-BE49-F238E27FC236}">
                <a16:creationId xmlns:a16="http://schemas.microsoft.com/office/drawing/2014/main" id="{03BDB129-9311-2787-270F-3D66409E1D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object 3"/>
          <p:cNvSpPr/>
          <p:nvPr/>
        </p:nvSpPr>
        <p:spPr>
          <a:xfrm>
            <a:off x="0" y="0"/>
            <a:ext cx="5402580" cy="6858000"/>
          </a:xfrm>
          <a:custGeom>
            <a:avLst/>
            <a:gdLst/>
            <a:ahLst/>
            <a:cxnLst/>
            <a:rect l="l" t="t" r="r" b="b"/>
            <a:pathLst>
              <a:path w="5402580" h="6858000">
                <a:moveTo>
                  <a:pt x="0" y="6858000"/>
                </a:moveTo>
                <a:lnTo>
                  <a:pt x="5402021" y="6858000"/>
                </a:lnTo>
                <a:lnTo>
                  <a:pt x="5402021" y="0"/>
                </a:lnTo>
                <a:lnTo>
                  <a:pt x="0" y="0"/>
                </a:lnTo>
                <a:lnTo>
                  <a:pt x="0" y="6858000"/>
                </a:lnTo>
                <a:close/>
              </a:path>
            </a:pathLst>
          </a:custGeom>
          <a:solidFill>
            <a:srgbClr val="0047E7">
              <a:alpha val="79998"/>
            </a:srgbClr>
          </a:solidFill>
        </p:spPr>
        <p:txBody>
          <a:bodyPr wrap="square" lIns="0" tIns="0" rIns="0" bIns="0" rtlCol="0"/>
          <a:lstStyle/>
          <a:p>
            <a:endParaRPr/>
          </a:p>
        </p:txBody>
      </p:sp>
      <p:sp>
        <p:nvSpPr>
          <p:cNvPr id="4" name="object 4"/>
          <p:cNvSpPr/>
          <p:nvPr/>
        </p:nvSpPr>
        <p:spPr>
          <a:xfrm>
            <a:off x="0" y="0"/>
            <a:ext cx="7078345" cy="6858000"/>
          </a:xfrm>
          <a:prstGeom prst="rect">
            <a:avLst/>
          </a:prstGeom>
          <a:blipFill>
            <a:blip r:embed="rId3" cstate="print">
              <a:alphaModFix amt="5000"/>
            </a:blip>
            <a:stretch>
              <a:fillRect/>
            </a:stretch>
          </a:blipFill>
        </p:spPr>
        <p:txBody>
          <a:bodyPr wrap="square" lIns="0" tIns="0" rIns="0" bIns="0" rtlCol="0"/>
          <a:lstStyle/>
          <a:p>
            <a:endParaRPr/>
          </a:p>
        </p:txBody>
      </p:sp>
      <p:sp>
        <p:nvSpPr>
          <p:cNvPr id="5" name="object 5"/>
          <p:cNvSpPr txBox="1">
            <a:spLocks noGrp="1"/>
          </p:cNvSpPr>
          <p:nvPr>
            <p:ph type="title"/>
          </p:nvPr>
        </p:nvSpPr>
        <p:spPr>
          <a:xfrm>
            <a:off x="671300" y="1452217"/>
            <a:ext cx="4269740" cy="2360133"/>
          </a:xfrm>
          <a:prstGeom prst="rect">
            <a:avLst/>
          </a:prstGeom>
        </p:spPr>
        <p:txBody>
          <a:bodyPr vert="horz" wrap="square" lIns="0" tIns="444500" rIns="0" bIns="0" rtlCol="0">
            <a:spAutoFit/>
          </a:bodyPr>
          <a:lstStyle/>
          <a:p>
            <a:pPr marL="12700" marR="5080">
              <a:lnSpc>
                <a:spcPct val="68500"/>
              </a:lnSpc>
              <a:spcBef>
                <a:spcPts val="3500"/>
              </a:spcBef>
            </a:pPr>
            <a:r>
              <a:rPr lang="en-AU" sz="6000" spc="50" dirty="0"/>
              <a:t>Petroleum &amp; Energy Conference 2025</a:t>
            </a:r>
            <a:endParaRPr sz="6000" dirty="0"/>
          </a:p>
        </p:txBody>
      </p:sp>
      <p:sp>
        <p:nvSpPr>
          <p:cNvPr id="6" name="object 6"/>
          <p:cNvSpPr/>
          <p:nvPr/>
        </p:nvSpPr>
        <p:spPr>
          <a:xfrm>
            <a:off x="665424" y="734395"/>
            <a:ext cx="1138555" cy="457200"/>
          </a:xfrm>
          <a:custGeom>
            <a:avLst/>
            <a:gdLst/>
            <a:ahLst/>
            <a:cxnLst/>
            <a:rect l="l" t="t" r="r" b="b"/>
            <a:pathLst>
              <a:path w="1138555" h="457200">
                <a:moveTo>
                  <a:pt x="893394" y="356933"/>
                </a:moveTo>
                <a:lnTo>
                  <a:pt x="819315" y="356933"/>
                </a:lnTo>
                <a:lnTo>
                  <a:pt x="819979" y="378410"/>
                </a:lnTo>
                <a:lnTo>
                  <a:pt x="832506" y="416060"/>
                </a:lnTo>
                <a:lnTo>
                  <a:pt x="864867" y="444426"/>
                </a:lnTo>
                <a:lnTo>
                  <a:pt x="910725" y="456204"/>
                </a:lnTo>
                <a:lnTo>
                  <a:pt x="932484" y="457199"/>
                </a:lnTo>
                <a:lnTo>
                  <a:pt x="960534" y="456234"/>
                </a:lnTo>
                <a:lnTo>
                  <a:pt x="989002" y="453453"/>
                </a:lnTo>
                <a:lnTo>
                  <a:pt x="1017781" y="449034"/>
                </a:lnTo>
                <a:lnTo>
                  <a:pt x="1046759" y="443153"/>
                </a:lnTo>
                <a:lnTo>
                  <a:pt x="1055110" y="409384"/>
                </a:lnTo>
                <a:lnTo>
                  <a:pt x="951293" y="409384"/>
                </a:lnTo>
                <a:lnTo>
                  <a:pt x="928032" y="406352"/>
                </a:lnTo>
                <a:lnTo>
                  <a:pt x="909832" y="396927"/>
                </a:lnTo>
                <a:lnTo>
                  <a:pt x="897888" y="380618"/>
                </a:lnTo>
                <a:lnTo>
                  <a:pt x="893394" y="356933"/>
                </a:lnTo>
                <a:close/>
              </a:path>
              <a:path w="1138555" h="457200">
                <a:moveTo>
                  <a:pt x="317233" y="0"/>
                </a:moveTo>
                <a:lnTo>
                  <a:pt x="64477" y="0"/>
                </a:lnTo>
                <a:lnTo>
                  <a:pt x="64477" y="237147"/>
                </a:lnTo>
                <a:lnTo>
                  <a:pt x="0" y="452170"/>
                </a:lnTo>
                <a:lnTo>
                  <a:pt x="56705" y="452170"/>
                </a:lnTo>
                <a:lnTo>
                  <a:pt x="85191" y="356933"/>
                </a:lnTo>
                <a:lnTo>
                  <a:pt x="1138301" y="356933"/>
                </a:lnTo>
                <a:lnTo>
                  <a:pt x="1138301" y="348043"/>
                </a:lnTo>
                <a:lnTo>
                  <a:pt x="159003" y="348043"/>
                </a:lnTo>
                <a:lnTo>
                  <a:pt x="150380" y="329844"/>
                </a:lnTo>
                <a:lnTo>
                  <a:pt x="171320" y="308444"/>
                </a:lnTo>
                <a:lnTo>
                  <a:pt x="99796" y="308444"/>
                </a:lnTo>
                <a:lnTo>
                  <a:pt x="129984" y="208076"/>
                </a:lnTo>
                <a:lnTo>
                  <a:pt x="73532" y="208076"/>
                </a:lnTo>
                <a:lnTo>
                  <a:pt x="73532" y="9016"/>
                </a:lnTo>
                <a:lnTo>
                  <a:pt x="317233" y="9016"/>
                </a:lnTo>
                <a:lnTo>
                  <a:pt x="317233" y="0"/>
                </a:lnTo>
                <a:close/>
              </a:path>
              <a:path w="1138555" h="457200">
                <a:moveTo>
                  <a:pt x="163322" y="356933"/>
                </a:moveTo>
                <a:lnTo>
                  <a:pt x="93395" y="356933"/>
                </a:lnTo>
                <a:lnTo>
                  <a:pt x="140423" y="452170"/>
                </a:lnTo>
                <a:lnTo>
                  <a:pt x="208953" y="452170"/>
                </a:lnTo>
                <a:lnTo>
                  <a:pt x="163322" y="356933"/>
                </a:lnTo>
                <a:close/>
              </a:path>
              <a:path w="1138555" h="457200">
                <a:moveTo>
                  <a:pt x="342087" y="356933"/>
                </a:moveTo>
                <a:lnTo>
                  <a:pt x="266877" y="356933"/>
                </a:lnTo>
                <a:lnTo>
                  <a:pt x="238137" y="452170"/>
                </a:lnTo>
                <a:lnTo>
                  <a:pt x="300126" y="452170"/>
                </a:lnTo>
                <a:lnTo>
                  <a:pt x="328472" y="357200"/>
                </a:lnTo>
                <a:lnTo>
                  <a:pt x="342087" y="357200"/>
                </a:lnTo>
                <a:lnTo>
                  <a:pt x="342087" y="356933"/>
                </a:lnTo>
                <a:close/>
              </a:path>
              <a:path w="1138555" h="457200">
                <a:moveTo>
                  <a:pt x="541705" y="356933"/>
                </a:moveTo>
                <a:lnTo>
                  <a:pt x="480059" y="356933"/>
                </a:lnTo>
                <a:lnTo>
                  <a:pt x="452704" y="451891"/>
                </a:lnTo>
                <a:lnTo>
                  <a:pt x="515188" y="451891"/>
                </a:lnTo>
                <a:lnTo>
                  <a:pt x="541705" y="356933"/>
                </a:lnTo>
                <a:close/>
              </a:path>
              <a:path w="1138555" h="457200">
                <a:moveTo>
                  <a:pt x="683171" y="356933"/>
                </a:moveTo>
                <a:lnTo>
                  <a:pt x="569823" y="356933"/>
                </a:lnTo>
                <a:lnTo>
                  <a:pt x="570585" y="451891"/>
                </a:lnTo>
                <a:lnTo>
                  <a:pt x="622998" y="451891"/>
                </a:lnTo>
                <a:lnTo>
                  <a:pt x="683171" y="356933"/>
                </a:lnTo>
                <a:close/>
              </a:path>
              <a:path w="1138555" h="457200">
                <a:moveTo>
                  <a:pt x="783729" y="356933"/>
                </a:moveTo>
                <a:lnTo>
                  <a:pt x="722566" y="356933"/>
                </a:lnTo>
                <a:lnTo>
                  <a:pt x="702246" y="451891"/>
                </a:lnTo>
                <a:lnTo>
                  <a:pt x="763778" y="451891"/>
                </a:lnTo>
                <a:lnTo>
                  <a:pt x="783729" y="356933"/>
                </a:lnTo>
                <a:close/>
              </a:path>
              <a:path w="1138555" h="457200">
                <a:moveTo>
                  <a:pt x="1068082" y="356933"/>
                </a:moveTo>
                <a:lnTo>
                  <a:pt x="1002791" y="356933"/>
                </a:lnTo>
                <a:lnTo>
                  <a:pt x="990790" y="405345"/>
                </a:lnTo>
                <a:lnTo>
                  <a:pt x="980750" y="407000"/>
                </a:lnTo>
                <a:lnTo>
                  <a:pt x="970784" y="408274"/>
                </a:lnTo>
                <a:lnTo>
                  <a:pt x="960947" y="409094"/>
                </a:lnTo>
                <a:lnTo>
                  <a:pt x="951293" y="409384"/>
                </a:lnTo>
                <a:lnTo>
                  <a:pt x="1055110" y="409384"/>
                </a:lnTo>
                <a:lnTo>
                  <a:pt x="1068082" y="356933"/>
                </a:lnTo>
                <a:close/>
              </a:path>
              <a:path w="1138555" h="457200">
                <a:moveTo>
                  <a:pt x="317233" y="9016"/>
                </a:moveTo>
                <a:lnTo>
                  <a:pt x="308127" y="9016"/>
                </a:lnTo>
                <a:lnTo>
                  <a:pt x="308127" y="220179"/>
                </a:lnTo>
                <a:lnTo>
                  <a:pt x="270865" y="344119"/>
                </a:lnTo>
                <a:lnTo>
                  <a:pt x="269532" y="348043"/>
                </a:lnTo>
                <a:lnTo>
                  <a:pt x="420446" y="348043"/>
                </a:lnTo>
                <a:lnTo>
                  <a:pt x="441913" y="337235"/>
                </a:lnTo>
                <a:lnTo>
                  <a:pt x="458631" y="322402"/>
                </a:lnTo>
                <a:lnTo>
                  <a:pt x="463222" y="315112"/>
                </a:lnTo>
                <a:lnTo>
                  <a:pt x="357492" y="315112"/>
                </a:lnTo>
                <a:lnTo>
                  <a:pt x="342468" y="314998"/>
                </a:lnTo>
                <a:lnTo>
                  <a:pt x="349415" y="289305"/>
                </a:lnTo>
                <a:lnTo>
                  <a:pt x="352704" y="276555"/>
                </a:lnTo>
                <a:lnTo>
                  <a:pt x="360578" y="246672"/>
                </a:lnTo>
                <a:lnTo>
                  <a:pt x="364070" y="246672"/>
                </a:lnTo>
                <a:lnTo>
                  <a:pt x="367499" y="246545"/>
                </a:lnTo>
                <a:lnTo>
                  <a:pt x="478937" y="246545"/>
                </a:lnTo>
                <a:lnTo>
                  <a:pt x="454990" y="214285"/>
                </a:lnTo>
                <a:lnTo>
                  <a:pt x="420543" y="208076"/>
                </a:lnTo>
                <a:lnTo>
                  <a:pt x="317233" y="208076"/>
                </a:lnTo>
                <a:lnTo>
                  <a:pt x="317233" y="9016"/>
                </a:lnTo>
                <a:close/>
              </a:path>
              <a:path w="1138555" h="457200">
                <a:moveTo>
                  <a:pt x="864539" y="0"/>
                </a:moveTo>
                <a:lnTo>
                  <a:pt x="611822" y="0"/>
                </a:lnTo>
                <a:lnTo>
                  <a:pt x="611822" y="207746"/>
                </a:lnTo>
                <a:lnTo>
                  <a:pt x="523049" y="207746"/>
                </a:lnTo>
                <a:lnTo>
                  <a:pt x="482752" y="348043"/>
                </a:lnTo>
                <a:lnTo>
                  <a:pt x="544233" y="348043"/>
                </a:lnTo>
                <a:lnTo>
                  <a:pt x="568960" y="260286"/>
                </a:lnTo>
                <a:lnTo>
                  <a:pt x="620687" y="260286"/>
                </a:lnTo>
                <a:lnTo>
                  <a:pt x="620687" y="9016"/>
                </a:lnTo>
                <a:lnTo>
                  <a:pt x="864539" y="9016"/>
                </a:lnTo>
                <a:lnTo>
                  <a:pt x="864539" y="0"/>
                </a:lnTo>
                <a:close/>
              </a:path>
              <a:path w="1138555" h="457200">
                <a:moveTo>
                  <a:pt x="620687" y="260286"/>
                </a:moveTo>
                <a:lnTo>
                  <a:pt x="568960" y="260286"/>
                </a:lnTo>
                <a:lnTo>
                  <a:pt x="569823" y="348043"/>
                </a:lnTo>
                <a:lnTo>
                  <a:pt x="620687" y="348043"/>
                </a:lnTo>
                <a:lnTo>
                  <a:pt x="620687" y="260286"/>
                </a:lnTo>
                <a:close/>
              </a:path>
              <a:path w="1138555" h="457200">
                <a:moveTo>
                  <a:pt x="716013" y="207975"/>
                </a:moveTo>
                <a:lnTo>
                  <a:pt x="627151" y="348043"/>
                </a:lnTo>
                <a:lnTo>
                  <a:pt x="689025" y="348043"/>
                </a:lnTo>
                <a:lnTo>
                  <a:pt x="742492" y="263931"/>
                </a:lnTo>
                <a:lnTo>
                  <a:pt x="803521" y="263931"/>
                </a:lnTo>
                <a:lnTo>
                  <a:pt x="815289" y="208076"/>
                </a:lnTo>
                <a:lnTo>
                  <a:pt x="716013" y="207975"/>
                </a:lnTo>
                <a:close/>
              </a:path>
              <a:path w="1138555" h="457200">
                <a:moveTo>
                  <a:pt x="803521" y="263931"/>
                </a:moveTo>
                <a:lnTo>
                  <a:pt x="742492" y="263931"/>
                </a:lnTo>
                <a:lnTo>
                  <a:pt x="724344" y="348043"/>
                </a:lnTo>
                <a:lnTo>
                  <a:pt x="785799" y="348043"/>
                </a:lnTo>
                <a:lnTo>
                  <a:pt x="803521" y="263931"/>
                </a:lnTo>
                <a:close/>
              </a:path>
              <a:path w="1138555" h="457200">
                <a:moveTo>
                  <a:pt x="864539" y="9016"/>
                </a:moveTo>
                <a:lnTo>
                  <a:pt x="855446" y="9016"/>
                </a:lnTo>
                <a:lnTo>
                  <a:pt x="855332" y="260286"/>
                </a:lnTo>
                <a:lnTo>
                  <a:pt x="844204" y="277525"/>
                </a:lnTo>
                <a:lnTo>
                  <a:pt x="824039" y="327482"/>
                </a:lnTo>
                <a:lnTo>
                  <a:pt x="820293" y="348043"/>
                </a:lnTo>
                <a:lnTo>
                  <a:pt x="894511" y="348043"/>
                </a:lnTo>
                <a:lnTo>
                  <a:pt x="894511" y="340017"/>
                </a:lnTo>
                <a:lnTo>
                  <a:pt x="895400" y="335610"/>
                </a:lnTo>
                <a:lnTo>
                  <a:pt x="908357" y="295152"/>
                </a:lnTo>
                <a:lnTo>
                  <a:pt x="951081" y="249371"/>
                </a:lnTo>
                <a:lnTo>
                  <a:pt x="955273" y="248437"/>
                </a:lnTo>
                <a:lnTo>
                  <a:pt x="864539" y="248437"/>
                </a:lnTo>
                <a:lnTo>
                  <a:pt x="864539" y="9016"/>
                </a:lnTo>
                <a:close/>
              </a:path>
              <a:path w="1138555" h="457200">
                <a:moveTo>
                  <a:pt x="1080008" y="308940"/>
                </a:moveTo>
                <a:lnTo>
                  <a:pt x="961504" y="308940"/>
                </a:lnTo>
                <a:lnTo>
                  <a:pt x="951763" y="348043"/>
                </a:lnTo>
                <a:lnTo>
                  <a:pt x="1070241" y="348043"/>
                </a:lnTo>
                <a:lnTo>
                  <a:pt x="1080008" y="308940"/>
                </a:lnTo>
                <a:close/>
              </a:path>
              <a:path w="1138555" h="457200">
                <a:moveTo>
                  <a:pt x="1138301" y="9016"/>
                </a:moveTo>
                <a:lnTo>
                  <a:pt x="1129385" y="9016"/>
                </a:lnTo>
                <a:lnTo>
                  <a:pt x="1129385" y="348043"/>
                </a:lnTo>
                <a:lnTo>
                  <a:pt x="1138301" y="348043"/>
                </a:lnTo>
                <a:lnTo>
                  <a:pt x="1138301" y="9016"/>
                </a:lnTo>
                <a:close/>
              </a:path>
              <a:path w="1138555" h="457200">
                <a:moveTo>
                  <a:pt x="478937" y="246545"/>
                </a:moveTo>
                <a:lnTo>
                  <a:pt x="382397" y="246545"/>
                </a:lnTo>
                <a:lnTo>
                  <a:pt x="395913" y="246821"/>
                </a:lnTo>
                <a:lnTo>
                  <a:pt x="406627" y="247908"/>
                </a:lnTo>
                <a:lnTo>
                  <a:pt x="414470" y="250193"/>
                </a:lnTo>
                <a:lnTo>
                  <a:pt x="419379" y="254063"/>
                </a:lnTo>
                <a:lnTo>
                  <a:pt x="421271" y="258324"/>
                </a:lnTo>
                <a:lnTo>
                  <a:pt x="421706" y="263974"/>
                </a:lnTo>
                <a:lnTo>
                  <a:pt x="420708" y="271088"/>
                </a:lnTo>
                <a:lnTo>
                  <a:pt x="391585" y="311343"/>
                </a:lnTo>
                <a:lnTo>
                  <a:pt x="371030" y="314794"/>
                </a:lnTo>
                <a:lnTo>
                  <a:pt x="368744" y="314998"/>
                </a:lnTo>
                <a:lnTo>
                  <a:pt x="362699" y="314998"/>
                </a:lnTo>
                <a:lnTo>
                  <a:pt x="360019" y="315112"/>
                </a:lnTo>
                <a:lnTo>
                  <a:pt x="463222" y="315112"/>
                </a:lnTo>
                <a:lnTo>
                  <a:pt x="470516" y="303530"/>
                </a:lnTo>
                <a:lnTo>
                  <a:pt x="477481" y="280606"/>
                </a:lnTo>
                <a:lnTo>
                  <a:pt x="479651" y="263931"/>
                </a:lnTo>
                <a:lnTo>
                  <a:pt x="479649" y="258324"/>
                </a:lnTo>
                <a:lnTo>
                  <a:pt x="479301" y="247880"/>
                </a:lnTo>
                <a:lnTo>
                  <a:pt x="478937" y="246545"/>
                </a:lnTo>
                <a:close/>
              </a:path>
              <a:path w="1138555" h="457200">
                <a:moveTo>
                  <a:pt x="269532" y="208076"/>
                </a:moveTo>
                <a:lnTo>
                  <a:pt x="192976" y="208076"/>
                </a:lnTo>
                <a:lnTo>
                  <a:pt x="99796" y="308444"/>
                </a:lnTo>
                <a:lnTo>
                  <a:pt x="171320" y="308444"/>
                </a:lnTo>
                <a:lnTo>
                  <a:pt x="269532" y="208076"/>
                </a:lnTo>
                <a:close/>
              </a:path>
              <a:path w="1138555" h="457200">
                <a:moveTo>
                  <a:pt x="1090636" y="242201"/>
                </a:moveTo>
                <a:lnTo>
                  <a:pt x="983259" y="242201"/>
                </a:lnTo>
                <a:lnTo>
                  <a:pt x="997121" y="243738"/>
                </a:lnTo>
                <a:lnTo>
                  <a:pt x="1008938" y="249086"/>
                </a:lnTo>
                <a:lnTo>
                  <a:pt x="1016717" y="259352"/>
                </a:lnTo>
                <a:lnTo>
                  <a:pt x="1018463" y="275640"/>
                </a:lnTo>
                <a:lnTo>
                  <a:pt x="1088961" y="275640"/>
                </a:lnTo>
                <a:lnTo>
                  <a:pt x="1091089" y="265009"/>
                </a:lnTo>
                <a:lnTo>
                  <a:pt x="1092063" y="252118"/>
                </a:lnTo>
                <a:lnTo>
                  <a:pt x="1090636" y="242201"/>
                </a:lnTo>
                <a:close/>
              </a:path>
              <a:path w="1138555" h="457200">
                <a:moveTo>
                  <a:pt x="1138301" y="0"/>
                </a:moveTo>
                <a:lnTo>
                  <a:pt x="885596" y="0"/>
                </a:lnTo>
                <a:lnTo>
                  <a:pt x="885596" y="228142"/>
                </a:lnTo>
                <a:lnTo>
                  <a:pt x="879829" y="232944"/>
                </a:lnTo>
                <a:lnTo>
                  <a:pt x="874436" y="237930"/>
                </a:lnTo>
                <a:lnTo>
                  <a:pt x="869371" y="243085"/>
                </a:lnTo>
                <a:lnTo>
                  <a:pt x="864539" y="248437"/>
                </a:lnTo>
                <a:lnTo>
                  <a:pt x="955273" y="248437"/>
                </a:lnTo>
                <a:lnTo>
                  <a:pt x="983259" y="242201"/>
                </a:lnTo>
                <a:lnTo>
                  <a:pt x="1090636" y="242201"/>
                </a:lnTo>
                <a:lnTo>
                  <a:pt x="1090018" y="237923"/>
                </a:lnTo>
                <a:lnTo>
                  <a:pt x="1083106" y="223405"/>
                </a:lnTo>
                <a:lnTo>
                  <a:pt x="1081356" y="221741"/>
                </a:lnTo>
                <a:lnTo>
                  <a:pt x="894511" y="221741"/>
                </a:lnTo>
                <a:lnTo>
                  <a:pt x="894511" y="9016"/>
                </a:lnTo>
                <a:lnTo>
                  <a:pt x="1138301" y="9016"/>
                </a:lnTo>
                <a:lnTo>
                  <a:pt x="1138301" y="0"/>
                </a:lnTo>
                <a:close/>
              </a:path>
              <a:path w="1138555" h="457200">
                <a:moveTo>
                  <a:pt x="998550" y="194246"/>
                </a:moveTo>
                <a:lnTo>
                  <a:pt x="975473" y="195304"/>
                </a:lnTo>
                <a:lnTo>
                  <a:pt x="949288" y="199359"/>
                </a:lnTo>
                <a:lnTo>
                  <a:pt x="921696" y="207746"/>
                </a:lnTo>
                <a:lnTo>
                  <a:pt x="894511" y="221741"/>
                </a:lnTo>
                <a:lnTo>
                  <a:pt x="1081356" y="221741"/>
                </a:lnTo>
                <a:lnTo>
                  <a:pt x="1069076" y="210068"/>
                </a:lnTo>
                <a:lnTo>
                  <a:pt x="1049915" y="201020"/>
                </a:lnTo>
                <a:lnTo>
                  <a:pt x="1026210" y="195875"/>
                </a:lnTo>
                <a:lnTo>
                  <a:pt x="998550" y="194246"/>
                </a:lnTo>
                <a:close/>
              </a:path>
              <a:path w="1138555" h="457200">
                <a:moveTo>
                  <a:pt x="590892" y="0"/>
                </a:moveTo>
                <a:lnTo>
                  <a:pt x="338137" y="0"/>
                </a:lnTo>
                <a:lnTo>
                  <a:pt x="338137" y="208076"/>
                </a:lnTo>
                <a:lnTo>
                  <a:pt x="420543" y="208076"/>
                </a:lnTo>
                <a:lnTo>
                  <a:pt x="415967" y="207746"/>
                </a:lnTo>
                <a:lnTo>
                  <a:pt x="347217" y="207746"/>
                </a:lnTo>
                <a:lnTo>
                  <a:pt x="347217" y="9016"/>
                </a:lnTo>
                <a:lnTo>
                  <a:pt x="590892" y="9016"/>
                </a:lnTo>
                <a:lnTo>
                  <a:pt x="590892" y="0"/>
                </a:lnTo>
                <a:close/>
              </a:path>
              <a:path w="1138555" h="457200">
                <a:moveTo>
                  <a:pt x="393827" y="207657"/>
                </a:moveTo>
                <a:lnTo>
                  <a:pt x="347217" y="207746"/>
                </a:lnTo>
                <a:lnTo>
                  <a:pt x="415967" y="207746"/>
                </a:lnTo>
                <a:lnTo>
                  <a:pt x="415321" y="207699"/>
                </a:lnTo>
                <a:lnTo>
                  <a:pt x="393827" y="207657"/>
                </a:lnTo>
                <a:close/>
              </a:path>
              <a:path w="1138555" h="457200">
                <a:moveTo>
                  <a:pt x="590892" y="9016"/>
                </a:moveTo>
                <a:lnTo>
                  <a:pt x="581812" y="9016"/>
                </a:lnTo>
                <a:lnTo>
                  <a:pt x="581812" y="207746"/>
                </a:lnTo>
                <a:lnTo>
                  <a:pt x="590892" y="207746"/>
                </a:lnTo>
                <a:lnTo>
                  <a:pt x="590892" y="9016"/>
                </a:lnTo>
                <a:close/>
              </a:path>
            </a:pathLst>
          </a:custGeom>
          <a:solidFill>
            <a:srgbClr val="FFFFFF"/>
          </a:solidFill>
        </p:spPr>
        <p:txBody>
          <a:bodyPr wrap="square" lIns="0" tIns="0" rIns="0" bIns="0" rtlCol="0"/>
          <a:lstStyle/>
          <a:p>
            <a:endParaRPr/>
          </a:p>
        </p:txBody>
      </p:sp>
      <p:sp>
        <p:nvSpPr>
          <p:cNvPr id="7" name="object 7"/>
          <p:cNvSpPr txBox="1"/>
          <p:nvPr/>
        </p:nvSpPr>
        <p:spPr>
          <a:xfrm>
            <a:off x="688125" y="4045826"/>
            <a:ext cx="4836795" cy="320601"/>
          </a:xfrm>
          <a:prstGeom prst="rect">
            <a:avLst/>
          </a:prstGeom>
        </p:spPr>
        <p:txBody>
          <a:bodyPr vert="horz" wrap="square" lIns="0" tIns="12700" rIns="0" bIns="0" rtlCol="0">
            <a:spAutoFit/>
          </a:bodyPr>
          <a:lstStyle/>
          <a:p>
            <a:pPr marL="12700">
              <a:lnSpc>
                <a:spcPct val="100000"/>
              </a:lnSpc>
              <a:spcBef>
                <a:spcPts val="100"/>
              </a:spcBef>
            </a:pPr>
            <a:r>
              <a:rPr lang="en-AU" sz="2000" b="1" dirty="0">
                <a:solidFill>
                  <a:srgbClr val="FFFFFF"/>
                </a:solidFill>
                <a:latin typeface="UniversLTStd-Bold"/>
                <a:cs typeface="UniversLTStd-Bold"/>
              </a:rPr>
              <a:t>On the Board Agenda</a:t>
            </a:r>
            <a:endParaRPr sz="2000" dirty="0">
              <a:latin typeface="UniversLTStd-Bold"/>
              <a:cs typeface="UniversLTStd-Bold"/>
            </a:endParaRPr>
          </a:p>
        </p:txBody>
      </p:sp>
      <p:sp>
        <p:nvSpPr>
          <p:cNvPr id="8" name="object 8"/>
          <p:cNvSpPr txBox="1"/>
          <p:nvPr/>
        </p:nvSpPr>
        <p:spPr>
          <a:xfrm>
            <a:off x="688125" y="4151185"/>
            <a:ext cx="2562860" cy="642420"/>
          </a:xfrm>
          <a:prstGeom prst="rect">
            <a:avLst/>
          </a:prstGeom>
        </p:spPr>
        <p:txBody>
          <a:bodyPr vert="horz" wrap="square" lIns="0" tIns="12700" rIns="0" bIns="0" rtlCol="0">
            <a:spAutoFit/>
          </a:bodyPr>
          <a:lstStyle/>
          <a:p>
            <a:pPr marL="12700" marR="5080">
              <a:lnSpc>
                <a:spcPct val="150600"/>
              </a:lnSpc>
              <a:spcBef>
                <a:spcPts val="100"/>
              </a:spcBef>
            </a:pPr>
            <a:endParaRPr lang="en-AU" sz="1400" b="1" dirty="0">
              <a:solidFill>
                <a:srgbClr val="FFFFFF"/>
              </a:solidFill>
              <a:latin typeface="UniversLTStd-Bold"/>
              <a:cs typeface="UniversLTStd-Bold"/>
            </a:endParaRPr>
          </a:p>
          <a:p>
            <a:pPr marL="12700" marR="5080">
              <a:lnSpc>
                <a:spcPct val="150600"/>
              </a:lnSpc>
              <a:spcBef>
                <a:spcPts val="100"/>
              </a:spcBef>
            </a:pPr>
            <a:r>
              <a:rPr sz="1400" b="1" dirty="0">
                <a:solidFill>
                  <a:srgbClr val="FFFFFF"/>
                </a:solidFill>
                <a:latin typeface="UniversLTStd-Bold"/>
                <a:cs typeface="UniversLTStd-Bold"/>
              </a:rPr>
              <a:t> </a:t>
            </a:r>
            <a:r>
              <a:rPr lang="en-AU" sz="1400" b="1" dirty="0">
                <a:solidFill>
                  <a:srgbClr val="FFFFFF"/>
                </a:solidFill>
                <a:latin typeface="UniversLTStd-Bold"/>
                <a:cs typeface="UniversLTStd-Bold"/>
              </a:rPr>
              <a:t>Pieter Steyn - </a:t>
            </a:r>
            <a:r>
              <a:rPr lang="en-AU" sz="1400" b="1" dirty="0">
                <a:solidFill>
                  <a:schemeClr val="bg1"/>
                </a:solidFill>
                <a:latin typeface="UniversLTStd-Bold"/>
                <a:cs typeface="UniversLTStd-Bold"/>
              </a:rPr>
              <a:t>9 October </a:t>
            </a:r>
            <a:r>
              <a:rPr lang="en-AU" sz="1400" b="1" spc="-5" dirty="0">
                <a:solidFill>
                  <a:schemeClr val="bg1"/>
                </a:solidFill>
                <a:latin typeface="UniversLTStd-Bold"/>
                <a:cs typeface="UniversLTStd-Bold"/>
              </a:rPr>
              <a:t>2025</a:t>
            </a:r>
            <a:endParaRPr lang="en-AU" sz="1400" dirty="0">
              <a:solidFill>
                <a:schemeClr val="bg1"/>
              </a:solidFill>
              <a:latin typeface="UniversLTStd-Bold"/>
              <a:cs typeface="UniversLTStd-Bold"/>
            </a:endParaRPr>
          </a:p>
        </p:txBody>
      </p:sp>
      <p:sp>
        <p:nvSpPr>
          <p:cNvPr id="9" name="object 9"/>
          <p:cNvSpPr txBox="1"/>
          <p:nvPr/>
        </p:nvSpPr>
        <p:spPr>
          <a:xfrm>
            <a:off x="688124" y="5734107"/>
            <a:ext cx="1972779" cy="228268"/>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Univers LT Std"/>
                <a:cs typeface="Univers LT Std"/>
              </a:rPr>
              <a:t>KPMG</a:t>
            </a:r>
            <a:r>
              <a:rPr sz="1400" spc="-105" dirty="0">
                <a:solidFill>
                  <a:srgbClr val="FFFFFF"/>
                </a:solidFill>
                <a:latin typeface="Univers LT Std"/>
                <a:cs typeface="Univers LT Std"/>
              </a:rPr>
              <a:t> </a:t>
            </a:r>
            <a:r>
              <a:rPr lang="en-AU" sz="1400" spc="-5" dirty="0">
                <a:solidFill>
                  <a:srgbClr val="FFFFFF"/>
                </a:solidFill>
                <a:latin typeface="Univers LT Std"/>
                <a:cs typeface="Univers LT Std"/>
              </a:rPr>
              <a:t>Papua New Guinea</a:t>
            </a:r>
            <a:endParaRPr sz="1400" dirty="0">
              <a:latin typeface="Univers LT Std"/>
              <a:cs typeface="Univers LT Std"/>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185BC33-7090-B7C7-76F2-EE3BCA29EF49}"/>
              </a:ext>
            </a:extLst>
          </p:cNvPr>
          <p:cNvSpPr>
            <a:spLocks noGrp="1"/>
          </p:cNvSpPr>
          <p:nvPr>
            <p:ph type="title"/>
          </p:nvPr>
        </p:nvSpPr>
        <p:spPr>
          <a:xfrm>
            <a:off x="654858" y="3121223"/>
            <a:ext cx="10468800" cy="615553"/>
          </a:xfrm>
        </p:spPr>
        <p:txBody>
          <a:bodyPr/>
          <a:lstStyle/>
          <a:p>
            <a:r>
              <a:rPr lang="en-AU" dirty="0"/>
              <a:t>On the Board Agenda: </a:t>
            </a:r>
            <a:r>
              <a:rPr lang="en-AU" dirty="0">
                <a:gradFill>
                  <a:gsLst>
                    <a:gs pos="29000">
                      <a:srgbClr val="B497FF"/>
                    </a:gs>
                    <a:gs pos="100000">
                      <a:schemeClr val="accent4"/>
                    </a:gs>
                  </a:gsLst>
                  <a:lin ang="0" scaled="0"/>
                </a:gradFill>
              </a:rPr>
              <a:t>Challenges and Strategies</a:t>
            </a:r>
          </a:p>
        </p:txBody>
      </p:sp>
    </p:spTree>
    <p:extLst>
      <p:ext uri="{BB962C8B-B14F-4D97-AF65-F5344CB8AC3E}">
        <p14:creationId xmlns:p14="http://schemas.microsoft.com/office/powerpoint/2010/main" val="39668860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641CB-3682-E9A1-D459-321F0423CB90}"/>
            </a:ext>
          </a:extLst>
        </p:cNvPr>
        <p:cNvGrpSpPr/>
        <p:nvPr/>
      </p:nvGrpSpPr>
      <p:grpSpPr>
        <a:xfrm>
          <a:off x="0" y="0"/>
          <a:ext cx="0" cy="0"/>
          <a:chOff x="0" y="0"/>
          <a:chExt cx="0" cy="0"/>
        </a:xfrm>
      </p:grpSpPr>
      <p:sp>
        <p:nvSpPr>
          <p:cNvPr id="7" name="Freeform: Shape 6">
            <a:extLst>
              <a:ext uri="{FF2B5EF4-FFF2-40B4-BE49-F238E27FC236}">
                <a16:creationId xmlns:a16="http://schemas.microsoft.com/office/drawing/2014/main" id="{B299BB3C-D303-F208-4E54-B93D561509A6}"/>
              </a:ext>
            </a:extLst>
          </p:cNvPr>
          <p:cNvSpPr/>
          <p:nvPr/>
        </p:nvSpPr>
        <p:spPr>
          <a:xfrm>
            <a:off x="701700" y="247583"/>
            <a:ext cx="10187538"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4000" b="1" dirty="0">
                <a:solidFill>
                  <a:schemeClr val="bg1"/>
                </a:solidFill>
                <a:latin typeface="+mj-lt"/>
                <a:cs typeface="Arial"/>
              </a:rPr>
              <a:t>Geopolitical, economic shifts and global disruption</a:t>
            </a:r>
            <a:endParaRPr lang="en-AU" sz="4000" b="1" kern="1200" dirty="0">
              <a:solidFill>
                <a:schemeClr val="bg1"/>
              </a:solidFill>
              <a:latin typeface="+mj-lt"/>
              <a:cs typeface="Arial"/>
            </a:endParaRPr>
          </a:p>
        </p:txBody>
      </p:sp>
      <p:sp>
        <p:nvSpPr>
          <p:cNvPr id="30" name="Oval 29">
            <a:extLst>
              <a:ext uri="{FF2B5EF4-FFF2-40B4-BE49-F238E27FC236}">
                <a16:creationId xmlns:a16="http://schemas.microsoft.com/office/drawing/2014/main" id="{F912EE75-E969-8F33-522E-4F89DAD6D92B}"/>
              </a:ext>
            </a:extLst>
          </p:cNvPr>
          <p:cNvSpPr/>
          <p:nvPr/>
        </p:nvSpPr>
        <p:spPr>
          <a:xfrm>
            <a:off x="413800" y="363197"/>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4000">
                <a:solidFill>
                  <a:schemeClr val="accent4"/>
                </a:solidFill>
                <a:latin typeface="+mj-lt"/>
              </a:rPr>
              <a:t>1</a:t>
            </a:r>
          </a:p>
        </p:txBody>
      </p:sp>
      <p:pic>
        <p:nvPicPr>
          <p:cNvPr id="1026" name="Picture 2" descr="Supply Chain Management - SCM - Conceptual Illustration Supply Chain Management - SCM - The Coordinated Process of Producing and Delivering Goods and Services from Suppliers to Consumers - Conceptual Illustration supply chain stock illustrations">
            <a:extLst>
              <a:ext uri="{FF2B5EF4-FFF2-40B4-BE49-F238E27FC236}">
                <a16:creationId xmlns:a16="http://schemas.microsoft.com/office/drawing/2014/main" id="{E652A350-D745-EB8B-0A50-0AC07B1BF8B2}"/>
              </a:ext>
            </a:extLst>
          </p:cNvPr>
          <p:cNvPicPr>
            <a:picLocks noChangeAspect="1" noChangeArrowheads="1"/>
          </p:cNvPicPr>
          <p:nvPr/>
        </p:nvPicPr>
        <p:blipFill>
          <a:blip r:embed="rId3">
            <a:alphaModFix amt="70000"/>
            <a:extLst>
              <a:ext uri="{28A0092B-C50C-407E-A947-70E740481C1C}">
                <a14:useLocalDpi xmlns:a14="http://schemas.microsoft.com/office/drawing/2010/main" val="0"/>
              </a:ext>
            </a:extLst>
          </a:blip>
          <a:srcRect/>
          <a:stretch>
            <a:fillRect/>
          </a:stretch>
        </p:blipFill>
        <p:spPr bwMode="auto">
          <a:xfrm>
            <a:off x="7690103" y="901847"/>
            <a:ext cx="3923576" cy="2173352"/>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A7C7797D-7BAD-7AD3-73CF-2C41D70B91BD}"/>
              </a:ext>
            </a:extLst>
          </p:cNvPr>
          <p:cNvGrpSpPr/>
          <p:nvPr/>
        </p:nvGrpSpPr>
        <p:grpSpPr>
          <a:xfrm>
            <a:off x="413800" y="1963674"/>
            <a:ext cx="4616503" cy="4153829"/>
            <a:chOff x="4274820" y="2019513"/>
            <a:chExt cx="3642360" cy="3277316"/>
          </a:xfrm>
        </p:grpSpPr>
        <p:grpSp>
          <p:nvGrpSpPr>
            <p:cNvPr id="3" name="Group 2">
              <a:extLst>
                <a:ext uri="{FF2B5EF4-FFF2-40B4-BE49-F238E27FC236}">
                  <a16:creationId xmlns:a16="http://schemas.microsoft.com/office/drawing/2014/main" id="{52B2A0C7-392B-0599-4C83-79782B5190EE}"/>
                </a:ext>
              </a:extLst>
            </p:cNvPr>
            <p:cNvGrpSpPr/>
            <p:nvPr/>
          </p:nvGrpSpPr>
          <p:grpSpPr>
            <a:xfrm>
              <a:off x="4274820" y="2019513"/>
              <a:ext cx="3642360" cy="3277316"/>
              <a:chOff x="4467225" y="1962150"/>
              <a:chExt cx="3261740" cy="2934842"/>
            </a:xfrm>
          </p:grpSpPr>
          <p:sp>
            <p:nvSpPr>
              <p:cNvPr id="11" name="Freeform: Shape 10">
                <a:extLst>
                  <a:ext uri="{FF2B5EF4-FFF2-40B4-BE49-F238E27FC236}">
                    <a16:creationId xmlns:a16="http://schemas.microsoft.com/office/drawing/2014/main" id="{C8714147-031E-7103-A883-FAD6F6A72836}"/>
                  </a:ext>
                </a:extLst>
              </p:cNvPr>
              <p:cNvSpPr/>
              <p:nvPr/>
            </p:nvSpPr>
            <p:spPr>
              <a:xfrm>
                <a:off x="5274564" y="3963543"/>
                <a:ext cx="1653635" cy="503300"/>
              </a:xfrm>
              <a:custGeom>
                <a:avLst/>
                <a:gdLst>
                  <a:gd name="connsiteX0" fmla="*/ 16 w 1653635"/>
                  <a:gd name="connsiteY0" fmla="*/ -81 h 503300"/>
                  <a:gd name="connsiteX1" fmla="*/ 163465 w 1653635"/>
                  <a:gd name="connsiteY1" fmla="*/ 335771 h 503300"/>
                  <a:gd name="connsiteX2" fmla="*/ 164703 w 1653635"/>
                  <a:gd name="connsiteY2" fmla="*/ 335771 h 503300"/>
                  <a:gd name="connsiteX3" fmla="*/ 164703 w 1653635"/>
                  <a:gd name="connsiteY3" fmla="*/ 339104 h 503300"/>
                  <a:gd name="connsiteX4" fmla="*/ 179467 w 1653635"/>
                  <a:gd name="connsiteY4" fmla="*/ 369394 h 503300"/>
                  <a:gd name="connsiteX5" fmla="*/ 826405 w 1653635"/>
                  <a:gd name="connsiteY5" fmla="*/ 503220 h 503300"/>
                  <a:gd name="connsiteX6" fmla="*/ 1473439 w 1653635"/>
                  <a:gd name="connsiteY6" fmla="*/ 369394 h 503300"/>
                  <a:gd name="connsiteX7" fmla="*/ 1488202 w 1653635"/>
                  <a:gd name="connsiteY7" fmla="*/ 339009 h 503300"/>
                  <a:gd name="connsiteX8" fmla="*/ 1488202 w 1653635"/>
                  <a:gd name="connsiteY8" fmla="*/ 335771 h 503300"/>
                  <a:gd name="connsiteX9" fmla="*/ 1489917 w 1653635"/>
                  <a:gd name="connsiteY9" fmla="*/ 335771 h 503300"/>
                  <a:gd name="connsiteX10" fmla="*/ 1653651 w 1653635"/>
                  <a:gd name="connsiteY10" fmla="*/ -81 h 503300"/>
                  <a:gd name="connsiteX11" fmla="*/ 826786 w 1653635"/>
                  <a:gd name="connsiteY11" fmla="*/ 118982 h 503300"/>
                  <a:gd name="connsiteX12" fmla="*/ 16 w 1653635"/>
                  <a:gd name="connsiteY12" fmla="*/ -81 h 50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3635" h="503300">
                    <a:moveTo>
                      <a:pt x="16" y="-81"/>
                    </a:moveTo>
                    <a:lnTo>
                      <a:pt x="163465" y="335771"/>
                    </a:lnTo>
                    <a:lnTo>
                      <a:pt x="164703" y="335771"/>
                    </a:lnTo>
                    <a:cubicBezTo>
                      <a:pt x="164703" y="336818"/>
                      <a:pt x="164703" y="337961"/>
                      <a:pt x="164703" y="339104"/>
                    </a:cubicBezTo>
                    <a:lnTo>
                      <a:pt x="179467" y="369394"/>
                    </a:lnTo>
                    <a:cubicBezTo>
                      <a:pt x="240618" y="438926"/>
                      <a:pt x="485220" y="503220"/>
                      <a:pt x="826405" y="503220"/>
                    </a:cubicBezTo>
                    <a:cubicBezTo>
                      <a:pt x="1167591" y="503220"/>
                      <a:pt x="1412193" y="438926"/>
                      <a:pt x="1473439" y="369394"/>
                    </a:cubicBezTo>
                    <a:lnTo>
                      <a:pt x="1488202" y="339009"/>
                    </a:lnTo>
                    <a:cubicBezTo>
                      <a:pt x="1488202" y="337961"/>
                      <a:pt x="1488202" y="336818"/>
                      <a:pt x="1488202" y="335771"/>
                    </a:cubicBezTo>
                    <a:lnTo>
                      <a:pt x="1489917" y="335771"/>
                    </a:lnTo>
                    <a:lnTo>
                      <a:pt x="1653651" y="-81"/>
                    </a:lnTo>
                    <a:cubicBezTo>
                      <a:pt x="1516587" y="75548"/>
                      <a:pt x="1167210" y="118982"/>
                      <a:pt x="826786" y="118982"/>
                    </a:cubicBezTo>
                    <a:cubicBezTo>
                      <a:pt x="486363" y="118982"/>
                      <a:pt x="137367" y="76119"/>
                      <a:pt x="16" y="-81"/>
                    </a:cubicBezTo>
                    <a:close/>
                  </a:path>
                </a:pathLst>
              </a:custGeom>
              <a:solidFill>
                <a:schemeClr val="tx2"/>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599BC13-F067-B979-5A49-39D2A27135D0}"/>
                  </a:ext>
                </a:extLst>
              </p:cNvPr>
              <p:cNvSpPr/>
              <p:nvPr/>
            </p:nvSpPr>
            <p:spPr>
              <a:xfrm>
                <a:off x="5478589" y="4405407"/>
                <a:ext cx="1245774" cy="491585"/>
              </a:xfrm>
              <a:custGeom>
                <a:avLst/>
                <a:gdLst>
                  <a:gd name="connsiteX0" fmla="*/ 16 w 1245774"/>
                  <a:gd name="connsiteY0" fmla="*/ -81 h 491585"/>
                  <a:gd name="connsiteX1" fmla="*/ 157750 w 1245774"/>
                  <a:gd name="connsiteY1" fmla="*/ 323769 h 491585"/>
                  <a:gd name="connsiteX2" fmla="*/ 157750 w 1245774"/>
                  <a:gd name="connsiteY2" fmla="*/ 323769 h 491585"/>
                  <a:gd name="connsiteX3" fmla="*/ 161751 w 1245774"/>
                  <a:gd name="connsiteY3" fmla="*/ 332056 h 491585"/>
                  <a:gd name="connsiteX4" fmla="*/ 181467 w 1245774"/>
                  <a:gd name="connsiteY4" fmla="*/ 372632 h 491585"/>
                  <a:gd name="connsiteX5" fmla="*/ 622761 w 1245774"/>
                  <a:gd name="connsiteY5" fmla="*/ 491504 h 491585"/>
                  <a:gd name="connsiteX6" fmla="*/ 1064340 w 1245774"/>
                  <a:gd name="connsiteY6" fmla="*/ 372823 h 491585"/>
                  <a:gd name="connsiteX7" fmla="*/ 1084056 w 1245774"/>
                  <a:gd name="connsiteY7" fmla="*/ 332246 h 491585"/>
                  <a:gd name="connsiteX8" fmla="*/ 1088057 w 1245774"/>
                  <a:gd name="connsiteY8" fmla="*/ 323960 h 491585"/>
                  <a:gd name="connsiteX9" fmla="*/ 1088057 w 1245774"/>
                  <a:gd name="connsiteY9" fmla="*/ 323960 h 491585"/>
                  <a:gd name="connsiteX10" fmla="*/ 1245791 w 1245774"/>
                  <a:gd name="connsiteY10" fmla="*/ 110 h 491585"/>
                  <a:gd name="connsiteX11" fmla="*/ 622761 w 1245774"/>
                  <a:gd name="connsiteY11" fmla="*/ 107361 h 491585"/>
                  <a:gd name="connsiteX12" fmla="*/ 16 w 1245774"/>
                  <a:gd name="connsiteY12" fmla="*/ -81 h 49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774" h="491585">
                    <a:moveTo>
                      <a:pt x="16" y="-81"/>
                    </a:moveTo>
                    <a:lnTo>
                      <a:pt x="157750" y="323769"/>
                    </a:lnTo>
                    <a:lnTo>
                      <a:pt x="157750" y="323769"/>
                    </a:lnTo>
                    <a:cubicBezTo>
                      <a:pt x="159084" y="326912"/>
                      <a:pt x="160512" y="328912"/>
                      <a:pt x="161751" y="332056"/>
                    </a:cubicBezTo>
                    <a:lnTo>
                      <a:pt x="181467" y="372632"/>
                    </a:lnTo>
                    <a:cubicBezTo>
                      <a:pt x="240522" y="440641"/>
                      <a:pt x="419116" y="491504"/>
                      <a:pt x="622761" y="491504"/>
                    </a:cubicBezTo>
                    <a:cubicBezTo>
                      <a:pt x="826405" y="491504"/>
                      <a:pt x="1005094" y="440641"/>
                      <a:pt x="1064340" y="372823"/>
                    </a:cubicBezTo>
                    <a:lnTo>
                      <a:pt x="1084056" y="332246"/>
                    </a:lnTo>
                    <a:cubicBezTo>
                      <a:pt x="1085866" y="328722"/>
                      <a:pt x="1086723" y="326627"/>
                      <a:pt x="1088057" y="323960"/>
                    </a:cubicBezTo>
                    <a:lnTo>
                      <a:pt x="1088057" y="323960"/>
                    </a:lnTo>
                    <a:lnTo>
                      <a:pt x="1245791" y="110"/>
                    </a:lnTo>
                    <a:cubicBezTo>
                      <a:pt x="1128919" y="68499"/>
                      <a:pt x="872792" y="107361"/>
                      <a:pt x="622761" y="107361"/>
                    </a:cubicBezTo>
                    <a:cubicBezTo>
                      <a:pt x="372729" y="107361"/>
                      <a:pt x="116602" y="68309"/>
                      <a:pt x="16" y="-81"/>
                    </a:cubicBezTo>
                    <a:close/>
                  </a:path>
                </a:pathLst>
              </a:custGeom>
              <a:solidFill>
                <a:schemeClr val="accent6"/>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5A3E975E-F797-E9DA-7DEE-12B5A4A60B02}"/>
                  </a:ext>
                </a:extLst>
              </p:cNvPr>
              <p:cNvSpPr/>
              <p:nvPr/>
            </p:nvSpPr>
            <p:spPr>
              <a:xfrm>
                <a:off x="4473797" y="2226754"/>
                <a:ext cx="3255168" cy="520731"/>
              </a:xfrm>
              <a:custGeom>
                <a:avLst/>
                <a:gdLst>
                  <a:gd name="connsiteX0" fmla="*/ 1627553 w 3255168"/>
                  <a:gd name="connsiteY0" fmla="*/ 136508 h 520731"/>
                  <a:gd name="connsiteX1" fmla="*/ 16 w 3255168"/>
                  <a:gd name="connsiteY1" fmla="*/ 110 h 520731"/>
                  <a:gd name="connsiteX2" fmla="*/ 183277 w 3255168"/>
                  <a:gd name="connsiteY2" fmla="*/ 376823 h 520731"/>
                  <a:gd name="connsiteX3" fmla="*/ 585423 w 3255168"/>
                  <a:gd name="connsiteY3" fmla="*/ 468454 h 520731"/>
                  <a:gd name="connsiteX4" fmla="*/ 1626886 w 3255168"/>
                  <a:gd name="connsiteY4" fmla="*/ 520651 h 520731"/>
                  <a:gd name="connsiteX5" fmla="*/ 1627553 w 3255168"/>
                  <a:gd name="connsiteY5" fmla="*/ 520651 h 520731"/>
                  <a:gd name="connsiteX6" fmla="*/ 3071352 w 3255168"/>
                  <a:gd name="connsiteY6" fmla="*/ 377776 h 520731"/>
                  <a:gd name="connsiteX7" fmla="*/ 3255185 w 3255168"/>
                  <a:gd name="connsiteY7" fmla="*/ -81 h 520731"/>
                  <a:gd name="connsiteX8" fmla="*/ 1627553 w 3255168"/>
                  <a:gd name="connsiteY8" fmla="*/ 136508 h 520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5168" h="520731">
                    <a:moveTo>
                      <a:pt x="1627553" y="136508"/>
                    </a:moveTo>
                    <a:cubicBezTo>
                      <a:pt x="938133" y="136508"/>
                      <a:pt x="211566" y="88883"/>
                      <a:pt x="16" y="110"/>
                    </a:cubicBezTo>
                    <a:lnTo>
                      <a:pt x="183277" y="376823"/>
                    </a:lnTo>
                    <a:cubicBezTo>
                      <a:pt x="226044" y="405398"/>
                      <a:pt x="346345" y="439498"/>
                      <a:pt x="585423" y="468454"/>
                    </a:cubicBezTo>
                    <a:cubicBezTo>
                      <a:pt x="863553" y="502077"/>
                      <a:pt x="1233123" y="520651"/>
                      <a:pt x="1626886" y="520651"/>
                    </a:cubicBezTo>
                    <a:lnTo>
                      <a:pt x="1627553" y="520651"/>
                    </a:lnTo>
                    <a:cubicBezTo>
                      <a:pt x="2400126" y="520651"/>
                      <a:pt x="2962577" y="449690"/>
                      <a:pt x="3071352" y="377776"/>
                    </a:cubicBezTo>
                    <a:lnTo>
                      <a:pt x="3255185" y="-81"/>
                    </a:lnTo>
                    <a:cubicBezTo>
                      <a:pt x="3043635" y="88883"/>
                      <a:pt x="2317354" y="136508"/>
                      <a:pt x="1627553" y="136508"/>
                    </a:cubicBezTo>
                    <a:close/>
                  </a:path>
                </a:pathLst>
              </a:custGeom>
              <a:solidFill>
                <a:schemeClr val="accent4"/>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9F74188-789B-9ABD-88A4-FFE6BD863FA3}"/>
                  </a:ext>
                </a:extLst>
              </p:cNvPr>
              <p:cNvSpPr/>
              <p:nvPr/>
            </p:nvSpPr>
            <p:spPr>
              <a:xfrm>
                <a:off x="4873752" y="3094481"/>
                <a:ext cx="2456021" cy="513207"/>
              </a:xfrm>
              <a:custGeom>
                <a:avLst/>
                <a:gdLst>
                  <a:gd name="connsiteX0" fmla="*/ 16 w 2456021"/>
                  <a:gd name="connsiteY0" fmla="*/ -81 h 513207"/>
                  <a:gd name="connsiteX1" fmla="*/ 180991 w 2456021"/>
                  <a:gd name="connsiteY1" fmla="*/ 371394 h 513207"/>
                  <a:gd name="connsiteX2" fmla="*/ 1227979 w 2456021"/>
                  <a:gd name="connsiteY2" fmla="*/ 513126 h 513207"/>
                  <a:gd name="connsiteX3" fmla="*/ 2275063 w 2456021"/>
                  <a:gd name="connsiteY3" fmla="*/ 371394 h 513207"/>
                  <a:gd name="connsiteX4" fmla="*/ 2456038 w 2456021"/>
                  <a:gd name="connsiteY4" fmla="*/ -81 h 513207"/>
                  <a:gd name="connsiteX5" fmla="*/ 1228360 w 2456021"/>
                  <a:gd name="connsiteY5" fmla="*/ 128411 h 513207"/>
                  <a:gd name="connsiteX6" fmla="*/ 16 w 2456021"/>
                  <a:gd name="connsiteY6" fmla="*/ -81 h 513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6021" h="513207">
                    <a:moveTo>
                      <a:pt x="16" y="-81"/>
                    </a:moveTo>
                    <a:lnTo>
                      <a:pt x="180991" y="371394"/>
                    </a:lnTo>
                    <a:cubicBezTo>
                      <a:pt x="262430" y="442832"/>
                      <a:pt x="669624" y="513126"/>
                      <a:pt x="1227979" y="513126"/>
                    </a:cubicBezTo>
                    <a:cubicBezTo>
                      <a:pt x="1786335" y="513126"/>
                      <a:pt x="2193529" y="442832"/>
                      <a:pt x="2275063" y="371394"/>
                    </a:cubicBezTo>
                    <a:lnTo>
                      <a:pt x="2456038" y="-81"/>
                    </a:lnTo>
                    <a:cubicBezTo>
                      <a:pt x="2277063" y="83739"/>
                      <a:pt x="1739757" y="128411"/>
                      <a:pt x="1228360" y="128411"/>
                    </a:cubicBezTo>
                    <a:cubicBezTo>
                      <a:pt x="716963" y="128411"/>
                      <a:pt x="178896" y="83739"/>
                      <a:pt x="16" y="-81"/>
                    </a:cubicBezTo>
                    <a:close/>
                  </a:path>
                </a:pathLst>
              </a:custGeom>
              <a:solidFill>
                <a:schemeClr val="accent5"/>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275B3D13-AC2B-436D-51F2-0F9D49422F94}"/>
                  </a:ext>
                </a:extLst>
              </p:cNvPr>
              <p:cNvSpPr/>
              <p:nvPr/>
            </p:nvSpPr>
            <p:spPr>
              <a:xfrm>
                <a:off x="4674012" y="2660046"/>
                <a:ext cx="2855309" cy="517398"/>
              </a:xfrm>
              <a:custGeom>
                <a:avLst/>
                <a:gdLst>
                  <a:gd name="connsiteX0" fmla="*/ 1426671 w 2855309"/>
                  <a:gd name="connsiteY0" fmla="*/ 132983 h 517398"/>
                  <a:gd name="connsiteX1" fmla="*/ 381683 w 2855309"/>
                  <a:gd name="connsiteY1" fmla="*/ 80501 h 517398"/>
                  <a:gd name="connsiteX2" fmla="*/ 16 w 2855309"/>
                  <a:gd name="connsiteY2" fmla="*/ 1062 h 517398"/>
                  <a:gd name="connsiteX3" fmla="*/ 182420 w 2855309"/>
                  <a:gd name="connsiteY3" fmla="*/ 375966 h 517398"/>
                  <a:gd name="connsiteX4" fmla="*/ 1427338 w 2855309"/>
                  <a:gd name="connsiteY4" fmla="*/ 517317 h 517398"/>
                  <a:gd name="connsiteX5" fmla="*/ 2672350 w 2855309"/>
                  <a:gd name="connsiteY5" fmla="*/ 375966 h 517398"/>
                  <a:gd name="connsiteX6" fmla="*/ 2855325 w 2855309"/>
                  <a:gd name="connsiteY6" fmla="*/ -81 h 517398"/>
                  <a:gd name="connsiteX7" fmla="*/ 1427338 w 2855309"/>
                  <a:gd name="connsiteY7" fmla="*/ 133269 h 517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5309" h="517398">
                    <a:moveTo>
                      <a:pt x="1426671" y="132983"/>
                    </a:moveTo>
                    <a:cubicBezTo>
                      <a:pt x="1032050" y="132983"/>
                      <a:pt x="660956" y="113933"/>
                      <a:pt x="381683" y="80501"/>
                    </a:cubicBezTo>
                    <a:cubicBezTo>
                      <a:pt x="196993" y="58117"/>
                      <a:pt x="69453" y="31542"/>
                      <a:pt x="16" y="1062"/>
                    </a:cubicBezTo>
                    <a:lnTo>
                      <a:pt x="182420" y="375966"/>
                    </a:lnTo>
                    <a:cubicBezTo>
                      <a:pt x="280527" y="447213"/>
                      <a:pt x="764302" y="517317"/>
                      <a:pt x="1427338" y="517317"/>
                    </a:cubicBezTo>
                    <a:cubicBezTo>
                      <a:pt x="2090373" y="517317"/>
                      <a:pt x="2574243" y="447308"/>
                      <a:pt x="2672350" y="375966"/>
                    </a:cubicBezTo>
                    <a:lnTo>
                      <a:pt x="2855325" y="-81"/>
                    </a:lnTo>
                    <a:cubicBezTo>
                      <a:pt x="2659968" y="86692"/>
                      <a:pt x="2028175" y="133269"/>
                      <a:pt x="1427338" y="133269"/>
                    </a:cubicBezTo>
                    <a:close/>
                  </a:path>
                </a:pathLst>
              </a:custGeom>
              <a:solidFill>
                <a:srgbClr val="B497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5F5C9CD7-BB79-CE26-B12F-530D6351B923}"/>
                  </a:ext>
                </a:extLst>
              </p:cNvPr>
              <p:cNvSpPr/>
              <p:nvPr/>
            </p:nvSpPr>
            <p:spPr>
              <a:xfrm>
                <a:off x="5074062" y="3528917"/>
                <a:ext cx="2054256" cy="508254"/>
              </a:xfrm>
              <a:custGeom>
                <a:avLst/>
                <a:gdLst>
                  <a:gd name="connsiteX0" fmla="*/ 16 w 2054256"/>
                  <a:gd name="connsiteY0" fmla="*/ -81 h 508254"/>
                  <a:gd name="connsiteX1" fmla="*/ 165846 w 2054256"/>
                  <a:gd name="connsiteY1" fmla="*/ 340629 h 508254"/>
                  <a:gd name="connsiteX2" fmla="*/ 166418 w 2054256"/>
                  <a:gd name="connsiteY2" fmla="*/ 340629 h 508254"/>
                  <a:gd name="connsiteX3" fmla="*/ 166418 w 2054256"/>
                  <a:gd name="connsiteY3" fmla="*/ 342248 h 508254"/>
                  <a:gd name="connsiteX4" fmla="*/ 178610 w 2054256"/>
                  <a:gd name="connsiteY4" fmla="*/ 367203 h 508254"/>
                  <a:gd name="connsiteX5" fmla="*/ 1027097 w 2054256"/>
                  <a:gd name="connsiteY5" fmla="*/ 508173 h 508254"/>
                  <a:gd name="connsiteX6" fmla="*/ 1875679 w 2054256"/>
                  <a:gd name="connsiteY6" fmla="*/ 367203 h 508254"/>
                  <a:gd name="connsiteX7" fmla="*/ 1887871 w 2054256"/>
                  <a:gd name="connsiteY7" fmla="*/ 342248 h 508254"/>
                  <a:gd name="connsiteX8" fmla="*/ 1887871 w 2054256"/>
                  <a:gd name="connsiteY8" fmla="*/ 340629 h 508254"/>
                  <a:gd name="connsiteX9" fmla="*/ 1888443 w 2054256"/>
                  <a:gd name="connsiteY9" fmla="*/ 340629 h 508254"/>
                  <a:gd name="connsiteX10" fmla="*/ 2054273 w 2054256"/>
                  <a:gd name="connsiteY10" fmla="*/ -81 h 508254"/>
                  <a:gd name="connsiteX11" fmla="*/ 1026906 w 2054256"/>
                  <a:gd name="connsiteY11" fmla="*/ 123744 h 508254"/>
                  <a:gd name="connsiteX12" fmla="*/ 16 w 2054256"/>
                  <a:gd name="connsiteY12" fmla="*/ -81 h 50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4256" h="508254">
                    <a:moveTo>
                      <a:pt x="16" y="-81"/>
                    </a:moveTo>
                    <a:lnTo>
                      <a:pt x="165846" y="340629"/>
                    </a:lnTo>
                    <a:lnTo>
                      <a:pt x="166418" y="340629"/>
                    </a:lnTo>
                    <a:cubicBezTo>
                      <a:pt x="166372" y="341171"/>
                      <a:pt x="166372" y="341705"/>
                      <a:pt x="166418" y="342248"/>
                    </a:cubicBezTo>
                    <a:lnTo>
                      <a:pt x="178610" y="367203"/>
                    </a:lnTo>
                    <a:cubicBezTo>
                      <a:pt x="243951" y="439498"/>
                      <a:pt x="568373" y="508173"/>
                      <a:pt x="1027097" y="508173"/>
                    </a:cubicBezTo>
                    <a:cubicBezTo>
                      <a:pt x="1485821" y="508173"/>
                      <a:pt x="1810338" y="439498"/>
                      <a:pt x="1875679" y="367203"/>
                    </a:cubicBezTo>
                    <a:lnTo>
                      <a:pt x="1887871" y="342248"/>
                    </a:lnTo>
                    <a:cubicBezTo>
                      <a:pt x="1887871" y="341676"/>
                      <a:pt x="1887871" y="341200"/>
                      <a:pt x="1887871" y="340629"/>
                    </a:cubicBezTo>
                    <a:lnTo>
                      <a:pt x="1888443" y="340629"/>
                    </a:lnTo>
                    <a:lnTo>
                      <a:pt x="2054273" y="-81"/>
                    </a:lnTo>
                    <a:cubicBezTo>
                      <a:pt x="1895206" y="80882"/>
                      <a:pt x="1450579" y="123744"/>
                      <a:pt x="1026906" y="123744"/>
                    </a:cubicBezTo>
                    <a:cubicBezTo>
                      <a:pt x="603234" y="123744"/>
                      <a:pt x="159084" y="80882"/>
                      <a:pt x="16" y="-81"/>
                    </a:cubicBezTo>
                    <a:close/>
                  </a:path>
                </a:pathLst>
              </a:custGeom>
              <a:solidFill>
                <a:schemeClr val="accent1"/>
              </a:solid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32A79AEC-0898-7191-188A-2F5B9449051A}"/>
                  </a:ext>
                </a:extLst>
              </p:cNvPr>
              <p:cNvSpPr/>
              <p:nvPr/>
            </p:nvSpPr>
            <p:spPr>
              <a:xfrm>
                <a:off x="4467225" y="1962150"/>
                <a:ext cx="3257550" cy="357949"/>
              </a:xfrm>
              <a:custGeom>
                <a:avLst/>
                <a:gdLst>
                  <a:gd name="connsiteX0" fmla="*/ 3257550 w 3257550"/>
                  <a:gd name="connsiteY0" fmla="*/ 178975 h 357949"/>
                  <a:gd name="connsiteX1" fmla="*/ 1628775 w 3257550"/>
                  <a:gd name="connsiteY1" fmla="*/ 357950 h 357949"/>
                  <a:gd name="connsiteX2" fmla="*/ 0 w 3257550"/>
                  <a:gd name="connsiteY2" fmla="*/ 178975 h 357949"/>
                  <a:gd name="connsiteX3" fmla="*/ 1628775 w 3257550"/>
                  <a:gd name="connsiteY3" fmla="*/ 0 h 357949"/>
                  <a:gd name="connsiteX4" fmla="*/ 3257550 w 3257550"/>
                  <a:gd name="connsiteY4" fmla="*/ 178975 h 357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550" h="357949">
                    <a:moveTo>
                      <a:pt x="3257550" y="178975"/>
                    </a:moveTo>
                    <a:cubicBezTo>
                      <a:pt x="3257550" y="277820"/>
                      <a:pt x="2528323" y="357950"/>
                      <a:pt x="1628775" y="357950"/>
                    </a:cubicBezTo>
                    <a:cubicBezTo>
                      <a:pt x="729227" y="357950"/>
                      <a:pt x="0" y="277820"/>
                      <a:pt x="0" y="178975"/>
                    </a:cubicBezTo>
                    <a:cubicBezTo>
                      <a:pt x="0" y="80130"/>
                      <a:pt x="729227" y="0"/>
                      <a:pt x="1628775" y="0"/>
                    </a:cubicBezTo>
                    <a:cubicBezTo>
                      <a:pt x="2528323" y="0"/>
                      <a:pt x="3257550" y="80130"/>
                      <a:pt x="3257550" y="178975"/>
                    </a:cubicBezTo>
                    <a:close/>
                  </a:path>
                </a:pathLst>
              </a:custGeom>
              <a:solidFill>
                <a:srgbClr val="ACEAFF"/>
              </a:solidFill>
              <a:ln w="9525" cap="flat">
                <a:noFill/>
                <a:prstDash val="solid"/>
                <a:miter/>
              </a:ln>
            </p:spPr>
            <p:txBody>
              <a:bodyPr rtlCol="0" anchor="ctr"/>
              <a:lstStyle/>
              <a:p>
                <a:endParaRPr lang="en-GB"/>
              </a:p>
            </p:txBody>
          </p:sp>
        </p:grpSp>
        <p:sp>
          <p:nvSpPr>
            <p:cNvPr id="4" name="TextBox 3">
              <a:extLst>
                <a:ext uri="{FF2B5EF4-FFF2-40B4-BE49-F238E27FC236}">
                  <a16:creationId xmlns:a16="http://schemas.microsoft.com/office/drawing/2014/main" id="{FA92C358-B07C-BD62-F520-8D4949139B62}"/>
                </a:ext>
              </a:extLst>
            </p:cNvPr>
            <p:cNvSpPr txBox="1"/>
            <p:nvPr/>
          </p:nvSpPr>
          <p:spPr>
            <a:xfrm>
              <a:off x="5156200" y="2585195"/>
              <a:ext cx="1874920" cy="147875"/>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Country-First” Models</a:t>
              </a:r>
              <a:endParaRPr kumimoji="0" lang="en-GB"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5" name="TextBox 4">
              <a:extLst>
                <a:ext uri="{FF2B5EF4-FFF2-40B4-BE49-F238E27FC236}">
                  <a16:creationId xmlns:a16="http://schemas.microsoft.com/office/drawing/2014/main" id="{882A3E52-59B1-C753-1289-202C1FE60495}"/>
                </a:ext>
              </a:extLst>
            </p:cNvPr>
            <p:cNvSpPr txBox="1"/>
            <p:nvPr/>
          </p:nvSpPr>
          <p:spPr>
            <a:xfrm>
              <a:off x="5156200" y="3060810"/>
              <a:ext cx="1874920" cy="147875"/>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Grey -listing</a:t>
              </a:r>
              <a:endParaRPr kumimoji="0" lang="en-GB"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2F06CEDA-4E2D-048F-861C-C2A064AE01B4}"/>
                </a:ext>
              </a:extLst>
            </p:cNvPr>
            <p:cNvSpPr txBox="1"/>
            <p:nvPr/>
          </p:nvSpPr>
          <p:spPr>
            <a:xfrm>
              <a:off x="5156200" y="3536425"/>
              <a:ext cx="1874920" cy="147875"/>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New tax bill</a:t>
              </a:r>
              <a:endParaRPr kumimoji="0" lang="en-GB"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8" name="TextBox 7">
              <a:extLst>
                <a:ext uri="{FF2B5EF4-FFF2-40B4-BE49-F238E27FC236}">
                  <a16:creationId xmlns:a16="http://schemas.microsoft.com/office/drawing/2014/main" id="{C5A3EE05-778F-AB6A-7FE1-7E419BCC6124}"/>
                </a:ext>
              </a:extLst>
            </p:cNvPr>
            <p:cNvSpPr txBox="1"/>
            <p:nvPr/>
          </p:nvSpPr>
          <p:spPr>
            <a:xfrm>
              <a:off x="5156200" y="4012040"/>
              <a:ext cx="1874920" cy="147875"/>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National Petroleum Authority</a:t>
              </a:r>
              <a:endParaRPr kumimoji="0" lang="en-GB"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9" name="TextBox 8">
              <a:extLst>
                <a:ext uri="{FF2B5EF4-FFF2-40B4-BE49-F238E27FC236}">
                  <a16:creationId xmlns:a16="http://schemas.microsoft.com/office/drawing/2014/main" id="{E0F1A434-169B-61DC-59DB-4E7AAB17C5B1}"/>
                </a:ext>
              </a:extLst>
            </p:cNvPr>
            <p:cNvSpPr txBox="1"/>
            <p:nvPr/>
          </p:nvSpPr>
          <p:spPr>
            <a:xfrm>
              <a:off x="5156200" y="4487655"/>
              <a:ext cx="1874920" cy="147875"/>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endParaRPr kumimoji="0" lang="en-GB"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0" name="TextBox 9">
              <a:extLst>
                <a:ext uri="{FF2B5EF4-FFF2-40B4-BE49-F238E27FC236}">
                  <a16:creationId xmlns:a16="http://schemas.microsoft.com/office/drawing/2014/main" id="{6C2F5288-0D0F-46E3-3AFB-86B1779EFF9C}"/>
                </a:ext>
              </a:extLst>
            </p:cNvPr>
            <p:cNvSpPr txBox="1"/>
            <p:nvPr/>
          </p:nvSpPr>
          <p:spPr>
            <a:xfrm>
              <a:off x="5165164" y="4910197"/>
              <a:ext cx="1874920" cy="338497"/>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Business </a:t>
              </a:r>
            </a:p>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Resilience</a:t>
              </a:r>
              <a:endParaRPr kumimoji="0" lang="en-GB" sz="1200" b="0" i="0" u="none" strike="noStrike" kern="1200" cap="none" spc="0" normalizeH="0" baseline="0" noProof="0" dirty="0">
                <a:ln>
                  <a:noFill/>
                </a:ln>
                <a:solidFill>
                  <a:schemeClr val="bg1"/>
                </a:solidFill>
                <a:effectLst/>
                <a:uLnTx/>
                <a:uFillTx/>
                <a:latin typeface="Arial"/>
                <a:ea typeface="+mn-ea"/>
                <a:cs typeface="+mn-cs"/>
              </a:endParaRPr>
            </a:p>
          </p:txBody>
        </p:sp>
      </p:grpSp>
      <p:pic>
        <p:nvPicPr>
          <p:cNvPr id="19" name="Picture 18">
            <a:extLst>
              <a:ext uri="{FF2B5EF4-FFF2-40B4-BE49-F238E27FC236}">
                <a16:creationId xmlns:a16="http://schemas.microsoft.com/office/drawing/2014/main" id="{3DFDD71A-AA6A-1AF5-4A6A-67D5B3CE889C}"/>
              </a:ext>
            </a:extLst>
          </p:cNvPr>
          <p:cNvPicPr>
            <a:picLocks noChangeAspect="1"/>
          </p:cNvPicPr>
          <p:nvPr/>
        </p:nvPicPr>
        <p:blipFill>
          <a:blip r:embed="rId4"/>
          <a:stretch>
            <a:fillRect/>
          </a:stretch>
        </p:blipFill>
        <p:spPr>
          <a:xfrm>
            <a:off x="4884726" y="3586997"/>
            <a:ext cx="6034587" cy="2815568"/>
          </a:xfrm>
          <a:prstGeom prst="rect">
            <a:avLst/>
          </a:prstGeom>
        </p:spPr>
      </p:pic>
    </p:spTree>
    <p:extLst>
      <p:ext uri="{BB962C8B-B14F-4D97-AF65-F5344CB8AC3E}">
        <p14:creationId xmlns:p14="http://schemas.microsoft.com/office/powerpoint/2010/main" val="172914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E564E-11E3-AAEE-291A-892CEDF73D17}"/>
            </a:ext>
          </a:extLst>
        </p:cNvPr>
        <p:cNvGrpSpPr/>
        <p:nvPr/>
      </p:nvGrpSpPr>
      <p:grpSpPr>
        <a:xfrm>
          <a:off x="0" y="0"/>
          <a:ext cx="0" cy="0"/>
          <a:chOff x="0" y="0"/>
          <a:chExt cx="0" cy="0"/>
        </a:xfrm>
      </p:grpSpPr>
      <p:sp>
        <p:nvSpPr>
          <p:cNvPr id="3" name="Freeform: Shape 2">
            <a:extLst>
              <a:ext uri="{FF2B5EF4-FFF2-40B4-BE49-F238E27FC236}">
                <a16:creationId xmlns:a16="http://schemas.microsoft.com/office/drawing/2014/main" id="{1DBBD7AF-6AAC-F014-214A-B93526E87013}"/>
              </a:ext>
            </a:extLst>
          </p:cNvPr>
          <p:cNvSpPr/>
          <p:nvPr/>
        </p:nvSpPr>
        <p:spPr>
          <a:xfrm>
            <a:off x="998958" y="333654"/>
            <a:ext cx="9917538"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4000" b="1" kern="1200" dirty="0">
                <a:solidFill>
                  <a:schemeClr val="bg1"/>
                </a:solidFill>
                <a:latin typeface="+mj-lt"/>
                <a:cs typeface="Arial"/>
              </a:rPr>
              <a:t>Understanding the AI strategy and deployment of technology</a:t>
            </a:r>
          </a:p>
        </p:txBody>
      </p:sp>
      <p:sp>
        <p:nvSpPr>
          <p:cNvPr id="6" name="Oval 5">
            <a:extLst>
              <a:ext uri="{FF2B5EF4-FFF2-40B4-BE49-F238E27FC236}">
                <a16:creationId xmlns:a16="http://schemas.microsoft.com/office/drawing/2014/main" id="{01E3F592-B42D-F4BF-CA06-C3FB7E217EF3}"/>
              </a:ext>
            </a:extLst>
          </p:cNvPr>
          <p:cNvSpPr/>
          <p:nvPr/>
        </p:nvSpPr>
        <p:spPr>
          <a:xfrm>
            <a:off x="720008" y="446369"/>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4000">
                <a:solidFill>
                  <a:schemeClr val="accent4"/>
                </a:solidFill>
                <a:latin typeface="+mj-lt"/>
              </a:rPr>
              <a:t>2</a:t>
            </a:r>
          </a:p>
        </p:txBody>
      </p:sp>
      <p:sp>
        <p:nvSpPr>
          <p:cNvPr id="45" name="Freeform: Shape 44">
            <a:extLst>
              <a:ext uri="{FF2B5EF4-FFF2-40B4-BE49-F238E27FC236}">
                <a16:creationId xmlns:a16="http://schemas.microsoft.com/office/drawing/2014/main" id="{4A160212-767E-4991-BDB6-FD586C80E7CA}"/>
              </a:ext>
            </a:extLst>
          </p:cNvPr>
          <p:cNvSpPr/>
          <p:nvPr/>
        </p:nvSpPr>
        <p:spPr>
          <a:xfrm>
            <a:off x="998957" y="1290097"/>
            <a:ext cx="8220005"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4000" b="1" kern="1200" dirty="0">
                <a:solidFill>
                  <a:schemeClr val="bg1"/>
                </a:solidFill>
                <a:latin typeface="+mj-lt"/>
                <a:cs typeface="Arial"/>
              </a:rPr>
              <a:t>Data governance and security frameworks</a:t>
            </a:r>
            <a:endParaRPr lang="en-AU" sz="4000" b="1" i="1" kern="1200" dirty="0">
              <a:solidFill>
                <a:schemeClr val="bg1"/>
              </a:solidFill>
              <a:latin typeface="+mj-lt"/>
              <a:cs typeface="Arial"/>
            </a:endParaRPr>
          </a:p>
        </p:txBody>
      </p:sp>
      <p:sp>
        <p:nvSpPr>
          <p:cNvPr id="46" name="Oval 45">
            <a:extLst>
              <a:ext uri="{FF2B5EF4-FFF2-40B4-BE49-F238E27FC236}">
                <a16:creationId xmlns:a16="http://schemas.microsoft.com/office/drawing/2014/main" id="{4EDB7397-ABDE-F27C-13A8-637DEA84523C}"/>
              </a:ext>
            </a:extLst>
          </p:cNvPr>
          <p:cNvSpPr/>
          <p:nvPr/>
        </p:nvSpPr>
        <p:spPr>
          <a:xfrm>
            <a:off x="720008" y="1402812"/>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4000">
                <a:solidFill>
                  <a:schemeClr val="accent4"/>
                </a:solidFill>
                <a:latin typeface="+mj-lt"/>
              </a:rPr>
              <a:t>3</a:t>
            </a:r>
          </a:p>
        </p:txBody>
      </p:sp>
      <p:pic>
        <p:nvPicPr>
          <p:cNvPr id="1026" name="Picture 2" descr="Magnus Carlsen Beats ChatGPT in Chess Without Losing a Piece | TIME">
            <a:extLst>
              <a:ext uri="{FF2B5EF4-FFF2-40B4-BE49-F238E27FC236}">
                <a16:creationId xmlns:a16="http://schemas.microsoft.com/office/drawing/2014/main" id="{454C15CD-742D-A962-B3CF-C5B28A8D23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80957" y="1621736"/>
            <a:ext cx="2211476" cy="147503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aphic 3">
            <a:extLst>
              <a:ext uri="{FF2B5EF4-FFF2-40B4-BE49-F238E27FC236}">
                <a16:creationId xmlns:a16="http://schemas.microsoft.com/office/drawing/2014/main" id="{4CB44F02-380C-2389-8541-002D658BB4E7}"/>
              </a:ext>
            </a:extLst>
          </p:cNvPr>
          <p:cNvGrpSpPr/>
          <p:nvPr/>
        </p:nvGrpSpPr>
        <p:grpSpPr>
          <a:xfrm>
            <a:off x="1856120" y="3246101"/>
            <a:ext cx="4504037" cy="3340877"/>
            <a:chOff x="3095910" y="1205102"/>
            <a:chExt cx="5999035" cy="4449793"/>
          </a:xfrm>
        </p:grpSpPr>
        <p:sp>
          <p:nvSpPr>
            <p:cNvPr id="4" name="Freeform: Shape 3">
              <a:extLst>
                <a:ext uri="{FF2B5EF4-FFF2-40B4-BE49-F238E27FC236}">
                  <a16:creationId xmlns:a16="http://schemas.microsoft.com/office/drawing/2014/main" id="{031B612F-E123-D111-4D15-72D720B3029F}"/>
                </a:ext>
              </a:extLst>
            </p:cNvPr>
            <p:cNvSpPr/>
            <p:nvPr/>
          </p:nvSpPr>
          <p:spPr>
            <a:xfrm>
              <a:off x="4220908" y="2152173"/>
              <a:ext cx="3748373" cy="470820"/>
            </a:xfrm>
            <a:custGeom>
              <a:avLst/>
              <a:gdLst>
                <a:gd name="connsiteX0" fmla="*/ 3748041 w 3748373"/>
                <a:gd name="connsiteY0" fmla="*/ 315154 h 470820"/>
                <a:gd name="connsiteX1" fmla="*/ 1873997 w 3748373"/>
                <a:gd name="connsiteY1" fmla="*/ 470602 h 470820"/>
                <a:gd name="connsiteX2" fmla="*/ -332 w 3748373"/>
                <a:gd name="connsiteY2" fmla="*/ 315249 h 470820"/>
                <a:gd name="connsiteX3" fmla="*/ 1873997 w 3748373"/>
                <a:gd name="connsiteY3" fmla="*/ -219 h 470820"/>
                <a:gd name="connsiteX4" fmla="*/ 3748041 w 3748373"/>
                <a:gd name="connsiteY4" fmla="*/ 315154 h 470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8373" h="470820">
                  <a:moveTo>
                    <a:pt x="3748041" y="315154"/>
                  </a:moveTo>
                  <a:cubicBezTo>
                    <a:pt x="3234643" y="412404"/>
                    <a:pt x="2583038" y="470602"/>
                    <a:pt x="1873997" y="470602"/>
                  </a:cubicBezTo>
                  <a:cubicBezTo>
                    <a:pt x="1164956" y="470602"/>
                    <a:pt x="513161" y="412499"/>
                    <a:pt x="-332" y="315249"/>
                  </a:cubicBezTo>
                  <a:cubicBezTo>
                    <a:pt x="268082" y="131607"/>
                    <a:pt x="1005889" y="-219"/>
                    <a:pt x="1873997" y="-219"/>
                  </a:cubicBezTo>
                  <a:cubicBezTo>
                    <a:pt x="2742106" y="-219"/>
                    <a:pt x="3479531" y="131607"/>
                    <a:pt x="3748041" y="315154"/>
                  </a:cubicBezTo>
                  <a:close/>
                </a:path>
              </a:pathLst>
            </a:custGeom>
            <a:solidFill>
              <a:srgbClr val="B2B2B2"/>
            </a:solidFill>
            <a:ln w="9525"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392119F-087C-E923-2CD7-F4A8355BB629}"/>
                </a:ext>
              </a:extLst>
            </p:cNvPr>
            <p:cNvSpPr/>
            <p:nvPr/>
          </p:nvSpPr>
          <p:spPr>
            <a:xfrm>
              <a:off x="3095910" y="1205102"/>
              <a:ext cx="5999035" cy="1262538"/>
            </a:xfrm>
            <a:custGeom>
              <a:avLst/>
              <a:gdLst>
                <a:gd name="connsiteX0" fmla="*/ 5570079 w 5999035"/>
                <a:gd name="connsiteY0" fmla="*/ 1074201 h 1262538"/>
                <a:gd name="connsiteX1" fmla="*/ 4873325 w 5999035"/>
                <a:gd name="connsiteY1" fmla="*/ 1262224 h 1262538"/>
                <a:gd name="connsiteX2" fmla="*/ 2999281 w 5999035"/>
                <a:gd name="connsiteY2" fmla="*/ 946852 h 1262538"/>
                <a:gd name="connsiteX3" fmla="*/ 1124952 w 5999035"/>
                <a:gd name="connsiteY3" fmla="*/ 1262320 h 1262538"/>
                <a:gd name="connsiteX4" fmla="*/ 471918 w 5999035"/>
                <a:gd name="connsiteY4" fmla="*/ 1090870 h 1262538"/>
                <a:gd name="connsiteX5" fmla="*/ -332 w 5999035"/>
                <a:gd name="connsiteY5" fmla="*/ 708822 h 1262538"/>
                <a:gd name="connsiteX6" fmla="*/ 2999281 w 5999035"/>
                <a:gd name="connsiteY6" fmla="*/ -219 h 1262538"/>
                <a:gd name="connsiteX7" fmla="*/ 5998704 w 5999035"/>
                <a:gd name="connsiteY7" fmla="*/ 708632 h 1262538"/>
                <a:gd name="connsiteX8" fmla="*/ 5570079 w 5999035"/>
                <a:gd name="connsiteY8" fmla="*/ 1074201 h 126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9035" h="1262538">
                  <a:moveTo>
                    <a:pt x="5570079" y="1074201"/>
                  </a:moveTo>
                  <a:cubicBezTo>
                    <a:pt x="5386342" y="1146210"/>
                    <a:pt x="5149836" y="1209932"/>
                    <a:pt x="4873325" y="1262224"/>
                  </a:cubicBezTo>
                  <a:cubicBezTo>
                    <a:pt x="4604815" y="1078678"/>
                    <a:pt x="3867199" y="946852"/>
                    <a:pt x="2999281" y="946852"/>
                  </a:cubicBezTo>
                  <a:cubicBezTo>
                    <a:pt x="2131363" y="946852"/>
                    <a:pt x="1393366" y="1078678"/>
                    <a:pt x="1124952" y="1262320"/>
                  </a:cubicBezTo>
                  <a:cubicBezTo>
                    <a:pt x="869872" y="1214028"/>
                    <a:pt x="648702" y="1156021"/>
                    <a:pt x="471918" y="1090870"/>
                  </a:cubicBezTo>
                  <a:cubicBezTo>
                    <a:pt x="173023" y="980665"/>
                    <a:pt x="-332" y="849506"/>
                    <a:pt x="-332" y="708822"/>
                  </a:cubicBezTo>
                  <a:cubicBezTo>
                    <a:pt x="-332" y="317249"/>
                    <a:pt x="1342693" y="-219"/>
                    <a:pt x="2999281" y="-219"/>
                  </a:cubicBezTo>
                  <a:cubicBezTo>
                    <a:pt x="4655869" y="-219"/>
                    <a:pt x="5998704" y="317059"/>
                    <a:pt x="5998704" y="708632"/>
                  </a:cubicBezTo>
                  <a:cubicBezTo>
                    <a:pt x="5998704" y="842363"/>
                    <a:pt x="5841922" y="967426"/>
                    <a:pt x="5570079" y="1074201"/>
                  </a:cubicBezTo>
                  <a:close/>
                </a:path>
              </a:pathLst>
            </a:custGeom>
            <a:solidFill>
              <a:srgbClr val="E5E5E5"/>
            </a:solidFill>
            <a:ln w="9525"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570380D4-C35B-8878-7A89-E9186797B60F}"/>
                </a:ext>
              </a:extLst>
            </p:cNvPr>
            <p:cNvSpPr/>
            <p:nvPr/>
          </p:nvSpPr>
          <p:spPr>
            <a:xfrm>
              <a:off x="5253894" y="4809266"/>
              <a:ext cx="1684115" cy="845629"/>
            </a:xfrm>
            <a:custGeom>
              <a:avLst/>
              <a:gdLst>
                <a:gd name="connsiteX0" fmla="*/ 1513667 w 1684115"/>
                <a:gd name="connsiteY0" fmla="*/ 701488 h 845629"/>
                <a:gd name="connsiteX1" fmla="*/ 1683783 w 1684115"/>
                <a:gd name="connsiteY1" fmla="*/ -219 h 845629"/>
                <a:gd name="connsiteX2" fmla="*/ 841011 w 1684115"/>
                <a:gd name="connsiteY2" fmla="*/ 179423 h 845629"/>
                <a:gd name="connsiteX3" fmla="*/ -332 w 1684115"/>
                <a:gd name="connsiteY3" fmla="*/ 4449 h 845629"/>
                <a:gd name="connsiteX4" fmla="*/ 169023 w 1684115"/>
                <a:gd name="connsiteY4" fmla="*/ 704536 h 845629"/>
                <a:gd name="connsiteX5" fmla="*/ 841011 w 1684115"/>
                <a:gd name="connsiteY5" fmla="*/ 845411 h 845629"/>
                <a:gd name="connsiteX6" fmla="*/ 1513667 w 1684115"/>
                <a:gd name="connsiteY6" fmla="*/ 701488 h 845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4115" h="845629">
                  <a:moveTo>
                    <a:pt x="1513667" y="701488"/>
                  </a:moveTo>
                  <a:cubicBezTo>
                    <a:pt x="1562625" y="451647"/>
                    <a:pt x="1620632" y="217713"/>
                    <a:pt x="1683783" y="-219"/>
                  </a:cubicBezTo>
                  <a:cubicBezTo>
                    <a:pt x="1642826" y="101032"/>
                    <a:pt x="1280018" y="179423"/>
                    <a:pt x="841011" y="179423"/>
                  </a:cubicBezTo>
                  <a:cubicBezTo>
                    <a:pt x="409910" y="179423"/>
                    <a:pt x="51198" y="103223"/>
                    <a:pt x="-332" y="4449"/>
                  </a:cubicBezTo>
                  <a:cubicBezTo>
                    <a:pt x="63009" y="222571"/>
                    <a:pt x="120064" y="454790"/>
                    <a:pt x="169023" y="704536"/>
                  </a:cubicBezTo>
                  <a:cubicBezTo>
                    <a:pt x="203884" y="784546"/>
                    <a:pt x="492873" y="845411"/>
                    <a:pt x="841011" y="845411"/>
                  </a:cubicBezTo>
                  <a:cubicBezTo>
                    <a:pt x="1191436" y="845411"/>
                    <a:pt x="1482330" y="782451"/>
                    <a:pt x="1513667" y="701488"/>
                  </a:cubicBezTo>
                  <a:close/>
                </a:path>
              </a:pathLst>
            </a:custGeom>
            <a:solidFill>
              <a:srgbClr val="ACEAFF"/>
            </a:solidFill>
            <a:ln w="9525"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254AAE0B-FF02-76E7-28DF-1F85ACC60514}"/>
                </a:ext>
              </a:extLst>
            </p:cNvPr>
            <p:cNvSpPr/>
            <p:nvPr/>
          </p:nvSpPr>
          <p:spPr>
            <a:xfrm>
              <a:off x="5003958" y="4105941"/>
              <a:ext cx="2180558" cy="882967"/>
            </a:xfrm>
            <a:custGeom>
              <a:avLst/>
              <a:gdLst>
                <a:gd name="connsiteX0" fmla="*/ 2180226 w 2180558"/>
                <a:gd name="connsiteY0" fmla="*/ 2829 h 882967"/>
                <a:gd name="connsiteX1" fmla="*/ 1090947 w 2180558"/>
                <a:gd name="connsiteY1" fmla="*/ 235049 h 882967"/>
                <a:gd name="connsiteX2" fmla="*/ -332 w 2180558"/>
                <a:gd name="connsiteY2" fmla="*/ -219 h 882967"/>
                <a:gd name="connsiteX3" fmla="*/ 249604 w 2180558"/>
                <a:gd name="connsiteY3" fmla="*/ 707774 h 882967"/>
                <a:gd name="connsiteX4" fmla="*/ 1090947 w 2180558"/>
                <a:gd name="connsiteY4" fmla="*/ 882749 h 882967"/>
                <a:gd name="connsiteX5" fmla="*/ 1933719 w 2180558"/>
                <a:gd name="connsiteY5" fmla="*/ 703107 h 882967"/>
                <a:gd name="connsiteX6" fmla="*/ 2180226 w 2180558"/>
                <a:gd name="connsiteY6" fmla="*/ 2829 h 88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0558" h="882967">
                  <a:moveTo>
                    <a:pt x="2180226" y="2829"/>
                  </a:moveTo>
                  <a:cubicBezTo>
                    <a:pt x="2124219" y="133322"/>
                    <a:pt x="1657685" y="235049"/>
                    <a:pt x="1090947" y="235049"/>
                  </a:cubicBezTo>
                  <a:cubicBezTo>
                    <a:pt x="527734" y="235049"/>
                    <a:pt x="60533" y="129035"/>
                    <a:pt x="-332" y="-219"/>
                  </a:cubicBezTo>
                  <a:cubicBezTo>
                    <a:pt x="96585" y="230752"/>
                    <a:pt x="180033" y="467144"/>
                    <a:pt x="249604" y="707774"/>
                  </a:cubicBezTo>
                  <a:cubicBezTo>
                    <a:pt x="301134" y="806358"/>
                    <a:pt x="659846" y="882749"/>
                    <a:pt x="1090947" y="882749"/>
                  </a:cubicBezTo>
                  <a:cubicBezTo>
                    <a:pt x="1529954" y="882749"/>
                    <a:pt x="1892762" y="804358"/>
                    <a:pt x="1933719" y="703107"/>
                  </a:cubicBezTo>
                  <a:cubicBezTo>
                    <a:pt x="2002604" y="465220"/>
                    <a:pt x="2084909" y="231419"/>
                    <a:pt x="2180226" y="2829"/>
                  </a:cubicBezTo>
                  <a:close/>
                </a:path>
              </a:pathLst>
            </a:custGeom>
            <a:solidFill>
              <a:schemeClr val="accent4"/>
            </a:solid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6751CEE9-62D2-6CB5-92EC-ADCA3ADBDA46}"/>
                </a:ext>
              </a:extLst>
            </p:cNvPr>
            <p:cNvSpPr/>
            <p:nvPr/>
          </p:nvSpPr>
          <p:spPr>
            <a:xfrm>
              <a:off x="4649914" y="3402520"/>
              <a:ext cx="2891027" cy="938688"/>
            </a:xfrm>
            <a:custGeom>
              <a:avLst/>
              <a:gdLst>
                <a:gd name="connsiteX0" fmla="*/ 353712 w 2891027"/>
                <a:gd name="connsiteY0" fmla="*/ 703202 h 938688"/>
                <a:gd name="connsiteX1" fmla="*/ -332 w 2891027"/>
                <a:gd name="connsiteY1" fmla="*/ 2448 h 938688"/>
                <a:gd name="connsiteX2" fmla="*/ 1444992 w 2891027"/>
                <a:gd name="connsiteY2" fmla="*/ 315154 h 938688"/>
                <a:gd name="connsiteX3" fmla="*/ 2890696 w 2891027"/>
                <a:gd name="connsiteY3" fmla="*/ -219 h 938688"/>
                <a:gd name="connsiteX4" fmla="*/ 2534271 w 2891027"/>
                <a:gd name="connsiteY4" fmla="*/ 706250 h 938688"/>
                <a:gd name="connsiteX5" fmla="*/ 1444992 w 2891027"/>
                <a:gd name="connsiteY5" fmla="*/ 938470 h 938688"/>
                <a:gd name="connsiteX6" fmla="*/ 353712 w 2891027"/>
                <a:gd name="connsiteY6" fmla="*/ 703202 h 93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1027" h="938688">
                  <a:moveTo>
                    <a:pt x="353712" y="703202"/>
                  </a:moveTo>
                  <a:cubicBezTo>
                    <a:pt x="244175" y="442122"/>
                    <a:pt x="123874" y="204664"/>
                    <a:pt x="-332" y="2448"/>
                  </a:cubicBezTo>
                  <a:cubicBezTo>
                    <a:pt x="60533" y="178184"/>
                    <a:pt x="685468" y="315154"/>
                    <a:pt x="1444992" y="315154"/>
                  </a:cubicBezTo>
                  <a:cubicBezTo>
                    <a:pt x="2207944" y="315154"/>
                    <a:pt x="2834784" y="176755"/>
                    <a:pt x="2890696" y="-219"/>
                  </a:cubicBezTo>
                  <a:cubicBezTo>
                    <a:pt x="2764652" y="204759"/>
                    <a:pt x="2645837" y="440246"/>
                    <a:pt x="2534271" y="706250"/>
                  </a:cubicBezTo>
                  <a:cubicBezTo>
                    <a:pt x="2478263" y="836743"/>
                    <a:pt x="2011729" y="938470"/>
                    <a:pt x="1444992" y="938470"/>
                  </a:cubicBezTo>
                  <a:cubicBezTo>
                    <a:pt x="881778" y="938470"/>
                    <a:pt x="414577" y="832457"/>
                    <a:pt x="353712" y="703202"/>
                  </a:cubicBezTo>
                  <a:close/>
                </a:path>
              </a:pathLst>
            </a:custGeom>
            <a:solidFill>
              <a:schemeClr val="accent3"/>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B798021-51D7-1FB6-A421-C26DA8B7BCCF}"/>
                </a:ext>
              </a:extLst>
            </p:cNvPr>
            <p:cNvSpPr/>
            <p:nvPr/>
          </p:nvSpPr>
          <p:spPr>
            <a:xfrm>
              <a:off x="4158710" y="2765392"/>
              <a:ext cx="3877531" cy="952500"/>
            </a:xfrm>
            <a:custGeom>
              <a:avLst/>
              <a:gdLst>
                <a:gd name="connsiteX0" fmla="*/ 3381900 w 3877531"/>
                <a:gd name="connsiteY0" fmla="*/ 637004 h 952500"/>
                <a:gd name="connsiteX1" fmla="*/ 3877200 w 3877531"/>
                <a:gd name="connsiteY1" fmla="*/ -219 h 952500"/>
                <a:gd name="connsiteX2" fmla="*/ 1936291 w 3877531"/>
                <a:gd name="connsiteY2" fmla="*/ 371828 h 952500"/>
                <a:gd name="connsiteX3" fmla="*/ -332 w 3877531"/>
                <a:gd name="connsiteY3" fmla="*/ 4639 h 952500"/>
                <a:gd name="connsiteX4" fmla="*/ 490872 w 3877531"/>
                <a:gd name="connsiteY4" fmla="*/ 639575 h 952500"/>
                <a:gd name="connsiteX5" fmla="*/ 1936196 w 3877531"/>
                <a:gd name="connsiteY5" fmla="*/ 952281 h 952500"/>
                <a:gd name="connsiteX6" fmla="*/ 3381900 w 3877531"/>
                <a:gd name="connsiteY6" fmla="*/ 637004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7531" h="952500">
                  <a:moveTo>
                    <a:pt x="3381900" y="637004"/>
                  </a:moveTo>
                  <a:cubicBezTo>
                    <a:pt x="3540587" y="379257"/>
                    <a:pt x="3710703" y="167421"/>
                    <a:pt x="3877200" y="-219"/>
                  </a:cubicBezTo>
                  <a:cubicBezTo>
                    <a:pt x="3692320" y="213332"/>
                    <a:pt x="2894315" y="371828"/>
                    <a:pt x="1936291" y="371828"/>
                  </a:cubicBezTo>
                  <a:cubicBezTo>
                    <a:pt x="988172" y="371828"/>
                    <a:pt x="195216" y="214856"/>
                    <a:pt x="-332" y="4639"/>
                  </a:cubicBezTo>
                  <a:cubicBezTo>
                    <a:pt x="186806" y="197101"/>
                    <a:pt x="351588" y="410099"/>
                    <a:pt x="490872" y="639575"/>
                  </a:cubicBezTo>
                  <a:cubicBezTo>
                    <a:pt x="551737" y="815312"/>
                    <a:pt x="1176672" y="952281"/>
                    <a:pt x="1936196" y="952281"/>
                  </a:cubicBezTo>
                  <a:cubicBezTo>
                    <a:pt x="2699148" y="952376"/>
                    <a:pt x="3326179" y="813978"/>
                    <a:pt x="3381900" y="637004"/>
                  </a:cubicBezTo>
                  <a:close/>
                </a:path>
              </a:pathLst>
            </a:custGeom>
            <a:solidFill>
              <a:schemeClr val="accent2"/>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08CFF901-C5F0-4BB2-2E4E-F51995B4EE33}"/>
                </a:ext>
              </a:extLst>
            </p:cNvPr>
            <p:cNvSpPr/>
            <p:nvPr/>
          </p:nvSpPr>
          <p:spPr>
            <a:xfrm>
              <a:off x="3568731" y="2324669"/>
              <a:ext cx="5096065" cy="812768"/>
            </a:xfrm>
            <a:custGeom>
              <a:avLst/>
              <a:gdLst>
                <a:gd name="connsiteX0" fmla="*/ 4467084 w 5096065"/>
                <a:gd name="connsiteY0" fmla="*/ 440503 h 812768"/>
                <a:gd name="connsiteX1" fmla="*/ 5095734 w 5096065"/>
                <a:gd name="connsiteY1" fmla="*/ -219 h 812768"/>
                <a:gd name="connsiteX2" fmla="*/ 2526079 w 5096065"/>
                <a:gd name="connsiteY2" fmla="*/ 346205 h 812768"/>
                <a:gd name="connsiteX3" fmla="*/ -332 w 5096065"/>
                <a:gd name="connsiteY3" fmla="*/ 16735 h 812768"/>
                <a:gd name="connsiteX4" fmla="*/ 589456 w 5096065"/>
                <a:gd name="connsiteY4" fmla="*/ 445361 h 812768"/>
                <a:gd name="connsiteX5" fmla="*/ 2526079 w 5096065"/>
                <a:gd name="connsiteY5" fmla="*/ 812549 h 812768"/>
                <a:gd name="connsiteX6" fmla="*/ 4467084 w 5096065"/>
                <a:gd name="connsiteY6" fmla="*/ 440503 h 8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96065" h="812768">
                  <a:moveTo>
                    <a:pt x="4467084" y="440503"/>
                  </a:moveTo>
                  <a:cubicBezTo>
                    <a:pt x="4684730" y="221428"/>
                    <a:pt x="4901043" y="80648"/>
                    <a:pt x="5095734" y="-219"/>
                  </a:cubicBezTo>
                  <a:cubicBezTo>
                    <a:pt x="4570811" y="205711"/>
                    <a:pt x="3616977" y="346205"/>
                    <a:pt x="2526079" y="346205"/>
                  </a:cubicBezTo>
                  <a:cubicBezTo>
                    <a:pt x="1464613" y="346205"/>
                    <a:pt x="532782" y="213427"/>
                    <a:pt x="-332" y="16735"/>
                  </a:cubicBezTo>
                  <a:cubicBezTo>
                    <a:pt x="183691" y="102460"/>
                    <a:pt x="386859" y="239144"/>
                    <a:pt x="589456" y="445361"/>
                  </a:cubicBezTo>
                  <a:cubicBezTo>
                    <a:pt x="785004" y="655577"/>
                    <a:pt x="1577961" y="812549"/>
                    <a:pt x="2526079" y="812549"/>
                  </a:cubicBezTo>
                  <a:cubicBezTo>
                    <a:pt x="3484199" y="812549"/>
                    <a:pt x="4282203" y="654053"/>
                    <a:pt x="4467084" y="440503"/>
                  </a:cubicBezTo>
                  <a:close/>
                </a:path>
              </a:pathLst>
            </a:custGeom>
            <a:solidFill>
              <a:schemeClr val="accent1"/>
            </a:solidFill>
            <a:ln w="9525" cap="flat">
              <a:noFill/>
              <a:prstDash val="solid"/>
              <a:miter/>
            </a:ln>
          </p:spPr>
          <p:txBody>
            <a:bodyPr rtlCol="0" anchor="ctr"/>
            <a:lstStyle/>
            <a:p>
              <a:endParaRPr lang="en-GB"/>
            </a:p>
          </p:txBody>
        </p:sp>
      </p:grpSp>
      <p:sp>
        <p:nvSpPr>
          <p:cNvPr id="13" name="Graphic 26">
            <a:extLst>
              <a:ext uri="{FF2B5EF4-FFF2-40B4-BE49-F238E27FC236}">
                <a16:creationId xmlns:a16="http://schemas.microsoft.com/office/drawing/2014/main" id="{1C8305C1-AE04-733F-CB22-635DB5CC0908}"/>
              </a:ext>
            </a:extLst>
          </p:cNvPr>
          <p:cNvSpPr/>
          <p:nvPr/>
        </p:nvSpPr>
        <p:spPr>
          <a:xfrm>
            <a:off x="1580130" y="3490262"/>
            <a:ext cx="1684665" cy="586302"/>
          </a:xfrm>
          <a:custGeom>
            <a:avLst/>
            <a:gdLst>
              <a:gd name="connsiteX0" fmla="*/ -247 w 2300382"/>
              <a:gd name="connsiteY0" fmla="*/ 300 h 800585"/>
              <a:gd name="connsiteX1" fmla="*/ 2300135 w 2300382"/>
              <a:gd name="connsiteY1" fmla="*/ 800401 h 800585"/>
            </a:gdLst>
            <a:ahLst/>
            <a:cxnLst>
              <a:cxn ang="0">
                <a:pos x="connsiteX0" y="connsiteY0"/>
              </a:cxn>
              <a:cxn ang="0">
                <a:pos x="connsiteX1" y="connsiteY1"/>
              </a:cxn>
            </a:cxnLst>
            <a:rect l="l" t="t" r="r" b="b"/>
            <a:pathLst>
              <a:path w="2300382" h="800585">
                <a:moveTo>
                  <a:pt x="-247" y="300"/>
                </a:moveTo>
                <a:cubicBezTo>
                  <a:pt x="-247" y="300"/>
                  <a:pt x="1690535" y="-47325"/>
                  <a:pt x="2300135" y="800401"/>
                </a:cubicBezTo>
              </a:path>
            </a:pathLst>
          </a:custGeom>
          <a:noFill/>
          <a:ln w="25400" cap="flat">
            <a:solidFill>
              <a:schemeClr val="accent6"/>
            </a:solidFill>
            <a:prstDash val="solid"/>
            <a:miter/>
            <a:tailEnd type="arrow"/>
          </a:ln>
        </p:spPr>
        <p:txBody>
          <a:bodyPr rtlCol="0" anchor="ctr"/>
          <a:lstStyle/>
          <a:p>
            <a:endParaRPr lang="en-GB"/>
          </a:p>
        </p:txBody>
      </p:sp>
      <p:sp>
        <p:nvSpPr>
          <p:cNvPr id="14" name="Graphic 26">
            <a:extLst>
              <a:ext uri="{FF2B5EF4-FFF2-40B4-BE49-F238E27FC236}">
                <a16:creationId xmlns:a16="http://schemas.microsoft.com/office/drawing/2014/main" id="{3F47A1AA-E53C-3839-0E9C-573A2A4341DF}"/>
              </a:ext>
            </a:extLst>
          </p:cNvPr>
          <p:cNvSpPr/>
          <p:nvPr/>
        </p:nvSpPr>
        <p:spPr>
          <a:xfrm flipH="1">
            <a:off x="5337638" y="3490262"/>
            <a:ext cx="1684665" cy="586302"/>
          </a:xfrm>
          <a:custGeom>
            <a:avLst/>
            <a:gdLst>
              <a:gd name="connsiteX0" fmla="*/ -247 w 2300382"/>
              <a:gd name="connsiteY0" fmla="*/ 300 h 800585"/>
              <a:gd name="connsiteX1" fmla="*/ 2300135 w 2300382"/>
              <a:gd name="connsiteY1" fmla="*/ 800401 h 800585"/>
            </a:gdLst>
            <a:ahLst/>
            <a:cxnLst>
              <a:cxn ang="0">
                <a:pos x="connsiteX0" y="connsiteY0"/>
              </a:cxn>
              <a:cxn ang="0">
                <a:pos x="connsiteX1" y="connsiteY1"/>
              </a:cxn>
            </a:cxnLst>
            <a:rect l="l" t="t" r="r" b="b"/>
            <a:pathLst>
              <a:path w="2300382" h="800585">
                <a:moveTo>
                  <a:pt x="-247" y="300"/>
                </a:moveTo>
                <a:cubicBezTo>
                  <a:pt x="-247" y="300"/>
                  <a:pt x="1690535" y="-47325"/>
                  <a:pt x="2300135" y="800401"/>
                </a:cubicBezTo>
              </a:path>
            </a:pathLst>
          </a:custGeom>
          <a:noFill/>
          <a:ln w="25400" cap="flat">
            <a:solidFill>
              <a:schemeClr val="accent6"/>
            </a:solidFill>
            <a:prstDash val="solid"/>
            <a:miter/>
            <a:tailEnd type="arrow"/>
          </a:ln>
        </p:spPr>
        <p:txBody>
          <a:bodyPr rtlCol="0" anchor="ctr"/>
          <a:lstStyle/>
          <a:p>
            <a:endParaRPr lang="en-GB"/>
          </a:p>
        </p:txBody>
      </p:sp>
      <p:cxnSp>
        <p:nvCxnSpPr>
          <p:cNvPr id="15" name="Straight Arrow Connector 14">
            <a:extLst>
              <a:ext uri="{FF2B5EF4-FFF2-40B4-BE49-F238E27FC236}">
                <a16:creationId xmlns:a16="http://schemas.microsoft.com/office/drawing/2014/main" id="{2275BC9B-6D4B-76F2-7D1C-843BC50523C0}"/>
              </a:ext>
            </a:extLst>
          </p:cNvPr>
          <p:cNvCxnSpPr>
            <a:cxnSpLocks/>
          </p:cNvCxnSpPr>
          <p:nvPr/>
        </p:nvCxnSpPr>
        <p:spPr>
          <a:xfrm>
            <a:off x="4192478" y="2967408"/>
            <a:ext cx="0" cy="940905"/>
          </a:xfrm>
          <a:prstGeom prst="straightConnector1">
            <a:avLst/>
          </a:prstGeom>
          <a:noFill/>
          <a:ln w="25400" cap="flat">
            <a:solidFill>
              <a:schemeClr val="accent6"/>
            </a:solidFill>
            <a:prstDash val="solid"/>
            <a:miter/>
            <a:tailEnd type="arrow"/>
          </a:ln>
        </p:spPr>
      </p:cxnSp>
      <p:sp>
        <p:nvSpPr>
          <p:cNvPr id="16" name="TextBox 15">
            <a:extLst>
              <a:ext uri="{FF2B5EF4-FFF2-40B4-BE49-F238E27FC236}">
                <a16:creationId xmlns:a16="http://schemas.microsoft.com/office/drawing/2014/main" id="{0CB193C5-11F1-698A-E6D9-F047E6B01B5E}"/>
              </a:ext>
            </a:extLst>
          </p:cNvPr>
          <p:cNvSpPr txBox="1"/>
          <p:nvPr/>
        </p:nvSpPr>
        <p:spPr>
          <a:xfrm>
            <a:off x="428821" y="2919418"/>
            <a:ext cx="1289304" cy="466344"/>
          </a:xfrm>
          <a:prstGeom prst="rect">
            <a:avLst/>
          </a:prstGeom>
        </p:spPr>
        <p:txBody>
          <a:bodyPr vert="horz" wrap="square" lIns="0" tIns="0" rIns="0" bIns="0" rtlCol="0" anchor="t" anchorCtr="0">
            <a:noAutofit/>
          </a:bodyPr>
          <a:lstStyle/>
          <a:p>
            <a:pPr algn="l">
              <a:spcAft>
                <a:spcPts val="600"/>
              </a:spcAft>
            </a:pPr>
            <a:r>
              <a:rPr lang="en-AU" sz="1500" b="1" dirty="0">
                <a:solidFill>
                  <a:schemeClr val="bg1"/>
                </a:solidFill>
              </a:rPr>
              <a:t>Risk Management Framework</a:t>
            </a:r>
          </a:p>
        </p:txBody>
      </p:sp>
      <p:sp>
        <p:nvSpPr>
          <p:cNvPr id="17" name="TextBox 16">
            <a:extLst>
              <a:ext uri="{FF2B5EF4-FFF2-40B4-BE49-F238E27FC236}">
                <a16:creationId xmlns:a16="http://schemas.microsoft.com/office/drawing/2014/main" id="{B04E1BFD-9BC3-3542-98AD-6CCD310E09C3}"/>
              </a:ext>
            </a:extLst>
          </p:cNvPr>
          <p:cNvSpPr txBox="1"/>
          <p:nvPr/>
        </p:nvSpPr>
        <p:spPr>
          <a:xfrm>
            <a:off x="3745045" y="2262842"/>
            <a:ext cx="1289304" cy="466344"/>
          </a:xfrm>
          <a:prstGeom prst="rect">
            <a:avLst/>
          </a:prstGeom>
        </p:spPr>
        <p:txBody>
          <a:bodyPr vert="horz" wrap="square" lIns="0" tIns="0" rIns="0" bIns="0" rtlCol="0" anchor="t" anchorCtr="0">
            <a:noAutofit/>
          </a:bodyPr>
          <a:lstStyle/>
          <a:p>
            <a:pPr algn="l">
              <a:spcAft>
                <a:spcPts val="600"/>
              </a:spcAft>
            </a:pPr>
            <a:r>
              <a:rPr lang="en-AU" sz="1500" b="1" dirty="0">
                <a:solidFill>
                  <a:schemeClr val="bg1"/>
                </a:solidFill>
              </a:rPr>
              <a:t>Data Governance Framework</a:t>
            </a:r>
          </a:p>
        </p:txBody>
      </p:sp>
      <p:sp>
        <p:nvSpPr>
          <p:cNvPr id="18" name="TextBox 17">
            <a:extLst>
              <a:ext uri="{FF2B5EF4-FFF2-40B4-BE49-F238E27FC236}">
                <a16:creationId xmlns:a16="http://schemas.microsoft.com/office/drawing/2014/main" id="{A2446F10-7DC4-8CFD-3D36-0E8727C138F7}"/>
              </a:ext>
            </a:extLst>
          </p:cNvPr>
          <p:cNvSpPr txBox="1"/>
          <p:nvPr/>
        </p:nvSpPr>
        <p:spPr>
          <a:xfrm>
            <a:off x="5932861" y="3673128"/>
            <a:ext cx="2376364" cy="429027"/>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Business </a:t>
            </a:r>
          </a:p>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Resilience</a:t>
            </a:r>
            <a:endParaRPr kumimoji="0" lang="en-GB" sz="1200" b="0" i="0" u="none" strike="noStrike" kern="1200" cap="none" spc="0" normalizeH="0" baseline="0" noProof="0" dirty="0">
              <a:ln>
                <a:noFill/>
              </a:ln>
              <a:solidFill>
                <a:schemeClr val="bg1"/>
              </a:solidFill>
              <a:effectLst/>
              <a:uLnTx/>
              <a:uFillTx/>
              <a:latin typeface="Arial"/>
              <a:ea typeface="+mn-ea"/>
              <a:cs typeface="+mn-cs"/>
            </a:endParaRPr>
          </a:p>
        </p:txBody>
      </p:sp>
      <p:pic>
        <p:nvPicPr>
          <p:cNvPr id="21" name="Picture 20">
            <a:extLst>
              <a:ext uri="{FF2B5EF4-FFF2-40B4-BE49-F238E27FC236}">
                <a16:creationId xmlns:a16="http://schemas.microsoft.com/office/drawing/2014/main" id="{EA51C8B9-1CDE-FCCB-38BB-9B226F7D7CAF}"/>
              </a:ext>
            </a:extLst>
          </p:cNvPr>
          <p:cNvPicPr>
            <a:picLocks noChangeAspect="1"/>
          </p:cNvPicPr>
          <p:nvPr/>
        </p:nvPicPr>
        <p:blipFill>
          <a:blip r:embed="rId4"/>
          <a:stretch>
            <a:fillRect/>
          </a:stretch>
        </p:blipFill>
        <p:spPr>
          <a:xfrm>
            <a:off x="6179970" y="4534871"/>
            <a:ext cx="4801974" cy="2143371"/>
          </a:xfrm>
          <a:prstGeom prst="rect">
            <a:avLst/>
          </a:prstGeom>
        </p:spPr>
      </p:pic>
    </p:spTree>
    <p:extLst>
      <p:ext uri="{BB962C8B-B14F-4D97-AF65-F5344CB8AC3E}">
        <p14:creationId xmlns:p14="http://schemas.microsoft.com/office/powerpoint/2010/main" val="2090935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D538D3-2020-60D1-2865-470BAA46142A}"/>
            </a:ext>
          </a:extLst>
        </p:cNvPr>
        <p:cNvGrpSpPr/>
        <p:nvPr/>
      </p:nvGrpSpPr>
      <p:grpSpPr>
        <a:xfrm>
          <a:off x="0" y="0"/>
          <a:ext cx="0" cy="0"/>
          <a:chOff x="0" y="0"/>
          <a:chExt cx="0" cy="0"/>
        </a:xfrm>
      </p:grpSpPr>
      <p:sp>
        <p:nvSpPr>
          <p:cNvPr id="50" name="Oval 49">
            <a:extLst>
              <a:ext uri="{FF2B5EF4-FFF2-40B4-BE49-F238E27FC236}">
                <a16:creationId xmlns:a16="http://schemas.microsoft.com/office/drawing/2014/main" id="{F5FD6FEC-FEA9-603A-3D56-F8C40BCC8B49}"/>
              </a:ext>
            </a:extLst>
          </p:cNvPr>
          <p:cNvSpPr/>
          <p:nvPr/>
        </p:nvSpPr>
        <p:spPr>
          <a:xfrm>
            <a:off x="806368" y="532147"/>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4000" dirty="0">
                <a:solidFill>
                  <a:schemeClr val="accent4"/>
                </a:solidFill>
                <a:latin typeface="+mj-lt"/>
              </a:rPr>
              <a:t>4</a:t>
            </a:r>
          </a:p>
        </p:txBody>
      </p:sp>
      <p:sp>
        <p:nvSpPr>
          <p:cNvPr id="9" name="Freeform: Shape 8">
            <a:extLst>
              <a:ext uri="{FF2B5EF4-FFF2-40B4-BE49-F238E27FC236}">
                <a16:creationId xmlns:a16="http://schemas.microsoft.com/office/drawing/2014/main" id="{51176AFE-8D23-03F8-FB90-27AE9031F1B2}"/>
              </a:ext>
            </a:extLst>
          </p:cNvPr>
          <p:cNvSpPr/>
          <p:nvPr/>
        </p:nvSpPr>
        <p:spPr>
          <a:xfrm>
            <a:off x="1092601" y="373545"/>
            <a:ext cx="6013836"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4000" b="1" kern="1200" dirty="0">
                <a:solidFill>
                  <a:schemeClr val="bg1"/>
                </a:solidFill>
                <a:latin typeface="+mj-lt"/>
                <a:cs typeface="Arial"/>
              </a:rPr>
              <a:t>Environmental and social issues</a:t>
            </a:r>
          </a:p>
        </p:txBody>
      </p:sp>
      <p:sp>
        <p:nvSpPr>
          <p:cNvPr id="5" name="object 2">
            <a:extLst>
              <a:ext uri="{FF2B5EF4-FFF2-40B4-BE49-F238E27FC236}">
                <a16:creationId xmlns:a16="http://schemas.microsoft.com/office/drawing/2014/main" id="{CFD0CA6A-1D98-0092-A0CD-EF0798AB31C3}"/>
              </a:ext>
            </a:extLst>
          </p:cNvPr>
          <p:cNvSpPr/>
          <p:nvPr/>
        </p:nvSpPr>
        <p:spPr>
          <a:xfrm>
            <a:off x="7466560" y="246023"/>
            <a:ext cx="2506425" cy="1472804"/>
          </a:xfrm>
          <a:prstGeom prst="rect">
            <a:avLst/>
          </a:prstGeom>
          <a:blipFill>
            <a:blip r:embed="rId3" cstate="print">
              <a:alphaModFix amt="70000"/>
            </a:blip>
            <a:stretch>
              <a:fillRect/>
            </a:stretch>
          </a:blipFill>
        </p:spPr>
        <p:txBody>
          <a:bodyPr wrap="square" lIns="0" tIns="0" rIns="0" bIns="0" rtlCol="0"/>
          <a:lstStyle/>
          <a:p>
            <a:endParaRPr/>
          </a:p>
        </p:txBody>
      </p:sp>
      <p:grpSp>
        <p:nvGrpSpPr>
          <p:cNvPr id="2" name="Group 1">
            <a:extLst>
              <a:ext uri="{FF2B5EF4-FFF2-40B4-BE49-F238E27FC236}">
                <a16:creationId xmlns:a16="http://schemas.microsoft.com/office/drawing/2014/main" id="{A5395FA5-18A9-ACCA-0108-0B77AB80EF5B}"/>
              </a:ext>
            </a:extLst>
          </p:cNvPr>
          <p:cNvGrpSpPr/>
          <p:nvPr/>
        </p:nvGrpSpPr>
        <p:grpSpPr>
          <a:xfrm>
            <a:off x="1092600" y="1874520"/>
            <a:ext cx="3790295" cy="3784208"/>
            <a:chOff x="16576040" y="2207607"/>
            <a:chExt cx="2850458" cy="2854314"/>
          </a:xfrm>
        </p:grpSpPr>
        <p:grpSp>
          <p:nvGrpSpPr>
            <p:cNvPr id="3" name="Group 2">
              <a:extLst>
                <a:ext uri="{FF2B5EF4-FFF2-40B4-BE49-F238E27FC236}">
                  <a16:creationId xmlns:a16="http://schemas.microsoft.com/office/drawing/2014/main" id="{521CFB0E-16E9-B419-8692-3EE673107A73}"/>
                </a:ext>
              </a:extLst>
            </p:cNvPr>
            <p:cNvGrpSpPr/>
            <p:nvPr/>
          </p:nvGrpSpPr>
          <p:grpSpPr>
            <a:xfrm>
              <a:off x="16576040" y="2207607"/>
              <a:ext cx="2850458" cy="2854314"/>
              <a:chOff x="16687194" y="2115436"/>
              <a:chExt cx="3034550" cy="3038656"/>
            </a:xfrm>
          </p:grpSpPr>
          <p:grpSp>
            <p:nvGrpSpPr>
              <p:cNvPr id="11" name="Group 10">
                <a:extLst>
                  <a:ext uri="{FF2B5EF4-FFF2-40B4-BE49-F238E27FC236}">
                    <a16:creationId xmlns:a16="http://schemas.microsoft.com/office/drawing/2014/main" id="{2C19B71C-661B-4C6D-BF49-8A02E8E234AB}"/>
                  </a:ext>
                </a:extLst>
              </p:cNvPr>
              <p:cNvGrpSpPr/>
              <p:nvPr/>
            </p:nvGrpSpPr>
            <p:grpSpPr>
              <a:xfrm rot="18900000">
                <a:off x="16990326" y="2424267"/>
                <a:ext cx="2429736" cy="2427236"/>
                <a:chOff x="17955959" y="2349775"/>
                <a:chExt cx="3925661" cy="3921620"/>
              </a:xfrm>
            </p:grpSpPr>
            <p:sp>
              <p:nvSpPr>
                <p:cNvPr id="16" name="Rectangle 15">
                  <a:extLst>
                    <a:ext uri="{FF2B5EF4-FFF2-40B4-BE49-F238E27FC236}">
                      <a16:creationId xmlns:a16="http://schemas.microsoft.com/office/drawing/2014/main" id="{86CA7769-C687-9DEC-FE6A-65D818E26991}"/>
                    </a:ext>
                  </a:extLst>
                </p:cNvPr>
                <p:cNvSpPr/>
                <p:nvPr/>
              </p:nvSpPr>
              <p:spPr>
                <a:xfrm rot="5400000">
                  <a:off x="19524842" y="3914617"/>
                  <a:ext cx="3921620" cy="7919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17" name="Rectangle 16">
                  <a:extLst>
                    <a:ext uri="{FF2B5EF4-FFF2-40B4-BE49-F238E27FC236}">
                      <a16:creationId xmlns:a16="http://schemas.microsoft.com/office/drawing/2014/main" id="{2D365E22-E44C-2952-AEE7-AD709E313544}"/>
                    </a:ext>
                  </a:extLst>
                </p:cNvPr>
                <p:cNvSpPr/>
                <p:nvPr/>
              </p:nvSpPr>
              <p:spPr>
                <a:xfrm>
                  <a:off x="17957846" y="5477962"/>
                  <a:ext cx="3921620" cy="7919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18" name="Rectangle 17">
                  <a:extLst>
                    <a:ext uri="{FF2B5EF4-FFF2-40B4-BE49-F238E27FC236}">
                      <a16:creationId xmlns:a16="http://schemas.microsoft.com/office/drawing/2014/main" id="{EB9CCDF4-D946-EF65-911A-DDAE04776027}"/>
                    </a:ext>
                  </a:extLst>
                </p:cNvPr>
                <p:cNvSpPr/>
                <p:nvPr/>
              </p:nvSpPr>
              <p:spPr>
                <a:xfrm rot="5400000">
                  <a:off x="16391117" y="3914617"/>
                  <a:ext cx="3921620" cy="7919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19" name="Rectangle 18">
                  <a:extLst>
                    <a:ext uri="{FF2B5EF4-FFF2-40B4-BE49-F238E27FC236}">
                      <a16:creationId xmlns:a16="http://schemas.microsoft.com/office/drawing/2014/main" id="{E76FF83D-2236-2C67-7DB8-557ECCECD51D}"/>
                    </a:ext>
                  </a:extLst>
                </p:cNvPr>
                <p:cNvSpPr/>
                <p:nvPr/>
              </p:nvSpPr>
              <p:spPr>
                <a:xfrm>
                  <a:off x="17955960" y="2349776"/>
                  <a:ext cx="3136372" cy="7919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grpSp>
          <p:sp>
            <p:nvSpPr>
              <p:cNvPr id="12" name="Isosceles Triangle 11">
                <a:extLst>
                  <a:ext uri="{FF2B5EF4-FFF2-40B4-BE49-F238E27FC236}">
                    <a16:creationId xmlns:a16="http://schemas.microsoft.com/office/drawing/2014/main" id="{80605DE9-F0DC-F908-DC5C-1D6C4B8EC7D2}"/>
                  </a:ext>
                </a:extLst>
              </p:cNvPr>
              <p:cNvSpPr/>
              <p:nvPr/>
            </p:nvSpPr>
            <p:spPr>
              <a:xfrm rot="8100000">
                <a:off x="19232144" y="3431595"/>
                <a:ext cx="489600" cy="22248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13" name="Isosceles Triangle 12">
                <a:extLst>
                  <a:ext uri="{FF2B5EF4-FFF2-40B4-BE49-F238E27FC236}">
                    <a16:creationId xmlns:a16="http://schemas.microsoft.com/office/drawing/2014/main" id="{305BE689-347C-0AF9-20D7-C6D15756A6D7}"/>
                  </a:ext>
                </a:extLst>
              </p:cNvPr>
              <p:cNvSpPr/>
              <p:nvPr/>
            </p:nvSpPr>
            <p:spPr>
              <a:xfrm rot="13500000">
                <a:off x="18054344" y="4798048"/>
                <a:ext cx="489600" cy="222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14" name="Isosceles Triangle 13">
                <a:extLst>
                  <a:ext uri="{FF2B5EF4-FFF2-40B4-BE49-F238E27FC236}">
                    <a16:creationId xmlns:a16="http://schemas.microsoft.com/office/drawing/2014/main" id="{62AD766D-D511-060E-3143-3C7DDC5E10DA}"/>
                  </a:ext>
                </a:extLst>
              </p:cNvPr>
              <p:cNvSpPr/>
              <p:nvPr/>
            </p:nvSpPr>
            <p:spPr>
              <a:xfrm rot="18900000">
                <a:off x="16687194" y="3624573"/>
                <a:ext cx="489600" cy="222488"/>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15" name="Isosceles Triangle 14">
                <a:extLst>
                  <a:ext uri="{FF2B5EF4-FFF2-40B4-BE49-F238E27FC236}">
                    <a16:creationId xmlns:a16="http://schemas.microsoft.com/office/drawing/2014/main" id="{36FFD674-7480-D13F-C63C-F1F31B16B4E6}"/>
                  </a:ext>
                </a:extLst>
              </p:cNvPr>
              <p:cNvSpPr/>
              <p:nvPr/>
            </p:nvSpPr>
            <p:spPr>
              <a:xfrm rot="13500000" flipH="1" flipV="1">
                <a:off x="17864276" y="2248992"/>
                <a:ext cx="489600" cy="22248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grpSp>
        <p:sp>
          <p:nvSpPr>
            <p:cNvPr id="4" name="TextBox 3">
              <a:extLst>
                <a:ext uri="{FF2B5EF4-FFF2-40B4-BE49-F238E27FC236}">
                  <a16:creationId xmlns:a16="http://schemas.microsoft.com/office/drawing/2014/main" id="{908BEB1C-5CEC-84F1-DE5C-340FEC07018C}"/>
                </a:ext>
              </a:extLst>
            </p:cNvPr>
            <p:cNvSpPr txBox="1"/>
            <p:nvPr/>
          </p:nvSpPr>
          <p:spPr>
            <a:xfrm rot="2700000">
              <a:off x="18170658" y="2944027"/>
              <a:ext cx="1064510" cy="208784"/>
            </a:xfrm>
            <a:prstGeom prst="rect">
              <a:avLst/>
            </a:prstGeom>
            <a:noFill/>
          </p:spPr>
          <p:txBody>
            <a:bodyPr wrap="square" lIns="0" tIns="0" rIns="0" bIns="0" rtlCol="0">
              <a:noAutofit/>
            </a:bodyPr>
            <a:lstStyle/>
            <a:p>
              <a:pPr algn="ctr">
                <a:spcAft>
                  <a:spcPts val="600"/>
                </a:spcAft>
              </a:pPr>
              <a:r>
                <a:rPr lang="en-GB" sz="1400" b="1" dirty="0">
                  <a:solidFill>
                    <a:schemeClr val="bg1"/>
                  </a:solidFill>
                </a:rPr>
                <a:t>2. Stakeholders</a:t>
              </a:r>
            </a:p>
          </p:txBody>
        </p:sp>
        <p:sp>
          <p:nvSpPr>
            <p:cNvPr id="6" name="TextBox 5">
              <a:extLst>
                <a:ext uri="{FF2B5EF4-FFF2-40B4-BE49-F238E27FC236}">
                  <a16:creationId xmlns:a16="http://schemas.microsoft.com/office/drawing/2014/main" id="{B9F76E92-4630-53B2-DBA2-64E165A32531}"/>
                </a:ext>
              </a:extLst>
            </p:cNvPr>
            <p:cNvSpPr txBox="1"/>
            <p:nvPr/>
          </p:nvSpPr>
          <p:spPr>
            <a:xfrm rot="18900000">
              <a:off x="18306140" y="4112467"/>
              <a:ext cx="808782" cy="208784"/>
            </a:xfrm>
            <a:prstGeom prst="rect">
              <a:avLst/>
            </a:prstGeom>
            <a:noFill/>
          </p:spPr>
          <p:txBody>
            <a:bodyPr wrap="square" lIns="0" tIns="0" rIns="0" bIns="0" rtlCol="0">
              <a:noAutofit/>
            </a:bodyPr>
            <a:lstStyle/>
            <a:p>
              <a:pPr algn="ctr">
                <a:spcAft>
                  <a:spcPts val="600"/>
                </a:spcAft>
              </a:pPr>
              <a:r>
                <a:rPr lang="en-GB" sz="1400" b="1" dirty="0">
                  <a:solidFill>
                    <a:schemeClr val="bg1"/>
                  </a:solidFill>
                </a:rPr>
                <a:t>3. Voluntary</a:t>
              </a:r>
            </a:p>
          </p:txBody>
        </p:sp>
        <p:sp>
          <p:nvSpPr>
            <p:cNvPr id="7" name="TextBox 6">
              <a:extLst>
                <a:ext uri="{FF2B5EF4-FFF2-40B4-BE49-F238E27FC236}">
                  <a16:creationId xmlns:a16="http://schemas.microsoft.com/office/drawing/2014/main" id="{73DCB69D-1048-E358-392B-4E1FBB49331C}"/>
                </a:ext>
              </a:extLst>
            </p:cNvPr>
            <p:cNvSpPr txBox="1"/>
            <p:nvPr/>
          </p:nvSpPr>
          <p:spPr>
            <a:xfrm rot="2700000" flipH="1">
              <a:off x="16917195" y="4257981"/>
              <a:ext cx="1047057" cy="208784"/>
            </a:xfrm>
            <a:prstGeom prst="rect">
              <a:avLst/>
            </a:prstGeom>
            <a:noFill/>
          </p:spPr>
          <p:txBody>
            <a:bodyPr wrap="square" lIns="0" tIns="0" rIns="0" bIns="0" rtlCol="0">
              <a:noAutofit/>
            </a:bodyPr>
            <a:lstStyle/>
            <a:p>
              <a:pPr algn="ctr">
                <a:spcAft>
                  <a:spcPts val="600"/>
                </a:spcAft>
              </a:pPr>
              <a:r>
                <a:rPr lang="en-GB" sz="1400" b="1" dirty="0">
                  <a:solidFill>
                    <a:schemeClr val="bg1"/>
                  </a:solidFill>
                </a:rPr>
                <a:t>4. Cost/Benefit</a:t>
              </a:r>
            </a:p>
          </p:txBody>
        </p:sp>
        <p:sp>
          <p:nvSpPr>
            <p:cNvPr id="8" name="TextBox 7">
              <a:extLst>
                <a:ext uri="{FF2B5EF4-FFF2-40B4-BE49-F238E27FC236}">
                  <a16:creationId xmlns:a16="http://schemas.microsoft.com/office/drawing/2014/main" id="{EE52A6F0-992F-7EED-646A-743701C7210B}"/>
                </a:ext>
              </a:extLst>
            </p:cNvPr>
            <p:cNvSpPr txBox="1"/>
            <p:nvPr/>
          </p:nvSpPr>
          <p:spPr>
            <a:xfrm rot="18900000">
              <a:off x="16931765" y="2829081"/>
              <a:ext cx="990325" cy="208784"/>
            </a:xfrm>
            <a:prstGeom prst="rect">
              <a:avLst/>
            </a:prstGeom>
            <a:noFill/>
          </p:spPr>
          <p:txBody>
            <a:bodyPr wrap="square" lIns="0" tIns="0" rIns="0" bIns="0" rtlCol="0">
              <a:noAutofit/>
            </a:bodyPr>
            <a:lstStyle/>
            <a:p>
              <a:pPr algn="ctr">
                <a:spcAft>
                  <a:spcPts val="600"/>
                </a:spcAft>
              </a:pPr>
              <a:r>
                <a:rPr lang="en-GB" sz="1400" b="1" dirty="0">
                  <a:solidFill>
                    <a:schemeClr val="bg1"/>
                  </a:solidFill>
                </a:rPr>
                <a:t>1. Legislated?</a:t>
              </a:r>
            </a:p>
          </p:txBody>
        </p:sp>
        <p:sp>
          <p:nvSpPr>
            <p:cNvPr id="10" name="Title 1">
              <a:extLst>
                <a:ext uri="{FF2B5EF4-FFF2-40B4-BE49-F238E27FC236}">
                  <a16:creationId xmlns:a16="http://schemas.microsoft.com/office/drawing/2014/main" id="{85597267-34E0-FAC4-4DDE-14F32B266D62}"/>
                </a:ext>
              </a:extLst>
            </p:cNvPr>
            <p:cNvSpPr txBox="1">
              <a:spLocks/>
            </p:cNvSpPr>
            <p:nvPr/>
          </p:nvSpPr>
          <p:spPr>
            <a:xfrm>
              <a:off x="17412253" y="3366929"/>
              <a:ext cx="1208312" cy="260004"/>
            </a:xfrm>
            <a:prstGeom prst="rect">
              <a:avLst/>
            </a:prstGeom>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algn="ctr"/>
              <a:r>
                <a:rPr lang="en-GB" sz="3200" dirty="0">
                  <a:solidFill>
                    <a:schemeClr val="bg1"/>
                  </a:solidFill>
                </a:rPr>
                <a:t>ESG</a:t>
              </a:r>
            </a:p>
          </p:txBody>
        </p:sp>
      </p:grpSp>
      <p:pic>
        <p:nvPicPr>
          <p:cNvPr id="21" name="Picture 20">
            <a:extLst>
              <a:ext uri="{FF2B5EF4-FFF2-40B4-BE49-F238E27FC236}">
                <a16:creationId xmlns:a16="http://schemas.microsoft.com/office/drawing/2014/main" id="{B499951B-645F-870E-9C6F-E3E95F9FCE18}"/>
              </a:ext>
            </a:extLst>
          </p:cNvPr>
          <p:cNvPicPr>
            <a:picLocks noChangeAspect="1"/>
          </p:cNvPicPr>
          <p:nvPr/>
        </p:nvPicPr>
        <p:blipFill>
          <a:blip r:embed="rId4"/>
          <a:stretch>
            <a:fillRect/>
          </a:stretch>
        </p:blipFill>
        <p:spPr>
          <a:xfrm>
            <a:off x="5619819" y="3108960"/>
            <a:ext cx="3936597" cy="2920458"/>
          </a:xfrm>
          <a:prstGeom prst="rect">
            <a:avLst/>
          </a:prstGeom>
        </p:spPr>
      </p:pic>
    </p:spTree>
    <p:extLst>
      <p:ext uri="{BB962C8B-B14F-4D97-AF65-F5344CB8AC3E}">
        <p14:creationId xmlns:p14="http://schemas.microsoft.com/office/powerpoint/2010/main" val="834653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C3BF6-62EB-0C5E-103F-6D5AA99C013A}"/>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0145DE6F-D39C-3183-DD66-9142A0ACFFCE}"/>
              </a:ext>
            </a:extLst>
          </p:cNvPr>
          <p:cNvSpPr/>
          <p:nvPr/>
        </p:nvSpPr>
        <p:spPr>
          <a:xfrm>
            <a:off x="811448" y="437759"/>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4000" dirty="0">
                <a:solidFill>
                  <a:schemeClr val="accent4"/>
                </a:solidFill>
                <a:latin typeface="+mj-lt"/>
              </a:rPr>
              <a:t>5</a:t>
            </a:r>
          </a:p>
        </p:txBody>
      </p:sp>
      <p:sp>
        <p:nvSpPr>
          <p:cNvPr id="4" name="Freeform: Shape 3">
            <a:extLst>
              <a:ext uri="{FF2B5EF4-FFF2-40B4-BE49-F238E27FC236}">
                <a16:creationId xmlns:a16="http://schemas.microsoft.com/office/drawing/2014/main" id="{0ECA59A7-D6B8-93D2-208E-2D556A02AB6A}"/>
              </a:ext>
            </a:extLst>
          </p:cNvPr>
          <p:cNvSpPr/>
          <p:nvPr/>
        </p:nvSpPr>
        <p:spPr>
          <a:xfrm>
            <a:off x="1099347" y="389542"/>
            <a:ext cx="8228954"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4000" b="1" kern="1200" dirty="0">
                <a:solidFill>
                  <a:schemeClr val="bg1"/>
                </a:solidFill>
                <a:latin typeface="+mj-lt"/>
                <a:cs typeface="Arial"/>
              </a:rPr>
              <a:t>CEO succession and talent development</a:t>
            </a:r>
          </a:p>
        </p:txBody>
      </p:sp>
      <p:sp>
        <p:nvSpPr>
          <p:cNvPr id="16" name="Oval 15">
            <a:extLst>
              <a:ext uri="{FF2B5EF4-FFF2-40B4-BE49-F238E27FC236}">
                <a16:creationId xmlns:a16="http://schemas.microsoft.com/office/drawing/2014/main" id="{285F6EAA-A0B4-4742-80A4-C1E62D92A0AE}"/>
              </a:ext>
            </a:extLst>
          </p:cNvPr>
          <p:cNvSpPr/>
          <p:nvPr/>
        </p:nvSpPr>
        <p:spPr>
          <a:xfrm>
            <a:off x="793549" y="1315999"/>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4000" dirty="0">
                <a:solidFill>
                  <a:schemeClr val="accent4"/>
                </a:solidFill>
                <a:latin typeface="+mj-lt"/>
              </a:rPr>
              <a:t>6</a:t>
            </a:r>
          </a:p>
        </p:txBody>
      </p:sp>
      <p:sp>
        <p:nvSpPr>
          <p:cNvPr id="17" name="Freeform: Shape 16">
            <a:extLst>
              <a:ext uri="{FF2B5EF4-FFF2-40B4-BE49-F238E27FC236}">
                <a16:creationId xmlns:a16="http://schemas.microsoft.com/office/drawing/2014/main" id="{D0149713-21F0-3641-CAD6-50900F9053BA}"/>
              </a:ext>
            </a:extLst>
          </p:cNvPr>
          <p:cNvSpPr/>
          <p:nvPr/>
        </p:nvSpPr>
        <p:spPr>
          <a:xfrm>
            <a:off x="1081448" y="1175736"/>
            <a:ext cx="8989265"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4000" b="1" kern="1200" dirty="0">
                <a:solidFill>
                  <a:schemeClr val="bg1"/>
                </a:solidFill>
                <a:latin typeface="+mj-lt"/>
                <a:cs typeface="Arial"/>
              </a:rPr>
              <a:t>Board composition and succession</a:t>
            </a:r>
          </a:p>
        </p:txBody>
      </p:sp>
      <p:pic>
        <p:nvPicPr>
          <p:cNvPr id="14" name="Picture 13">
            <a:extLst>
              <a:ext uri="{FF2B5EF4-FFF2-40B4-BE49-F238E27FC236}">
                <a16:creationId xmlns:a16="http://schemas.microsoft.com/office/drawing/2014/main" id="{0B5F4EA2-1035-B79C-BFE3-25A14A85BCFB}"/>
              </a:ext>
            </a:extLst>
          </p:cNvPr>
          <p:cNvPicPr>
            <a:picLocks noChangeAspect="1"/>
          </p:cNvPicPr>
          <p:nvPr/>
        </p:nvPicPr>
        <p:blipFill>
          <a:blip r:embed="rId3">
            <a:duotone>
              <a:prstClr val="black"/>
              <a:schemeClr val="accent2">
                <a:tint val="45000"/>
                <a:satMod val="400000"/>
              </a:schemeClr>
            </a:duotone>
          </a:blip>
          <a:stretch>
            <a:fillRect/>
          </a:stretch>
        </p:blipFill>
        <p:spPr>
          <a:xfrm>
            <a:off x="7929677" y="389542"/>
            <a:ext cx="2797247" cy="1865196"/>
          </a:xfrm>
          <a:prstGeom prst="rect">
            <a:avLst/>
          </a:prstGeom>
        </p:spPr>
      </p:pic>
      <p:sp>
        <p:nvSpPr>
          <p:cNvPr id="3" name="Oval 2">
            <a:extLst>
              <a:ext uri="{FF2B5EF4-FFF2-40B4-BE49-F238E27FC236}">
                <a16:creationId xmlns:a16="http://schemas.microsoft.com/office/drawing/2014/main" id="{33625A09-1906-8D4F-C62B-3A80A1646842}"/>
              </a:ext>
            </a:extLst>
          </p:cNvPr>
          <p:cNvSpPr/>
          <p:nvPr/>
        </p:nvSpPr>
        <p:spPr>
          <a:xfrm>
            <a:off x="2239777" y="3219434"/>
            <a:ext cx="2143543" cy="2117979"/>
          </a:xfrm>
          <a:prstGeom prst="ellipse">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5" name="Oval 4">
            <a:extLst>
              <a:ext uri="{FF2B5EF4-FFF2-40B4-BE49-F238E27FC236}">
                <a16:creationId xmlns:a16="http://schemas.microsoft.com/office/drawing/2014/main" id="{E1B8D073-158A-9F4A-C537-21BF87CA3AD2}"/>
              </a:ext>
            </a:extLst>
          </p:cNvPr>
          <p:cNvSpPr/>
          <p:nvPr/>
        </p:nvSpPr>
        <p:spPr>
          <a:xfrm>
            <a:off x="624519" y="3219434"/>
            <a:ext cx="2143543" cy="2117979"/>
          </a:xfrm>
          <a:prstGeom prst="ellipse">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6" name="TextBox 5">
            <a:extLst>
              <a:ext uri="{FF2B5EF4-FFF2-40B4-BE49-F238E27FC236}">
                <a16:creationId xmlns:a16="http://schemas.microsoft.com/office/drawing/2014/main" id="{6DA2FD8E-A557-F50B-1EED-194936E2273D}"/>
              </a:ext>
            </a:extLst>
          </p:cNvPr>
          <p:cNvSpPr txBox="1"/>
          <p:nvPr/>
        </p:nvSpPr>
        <p:spPr>
          <a:xfrm>
            <a:off x="925403" y="4051538"/>
            <a:ext cx="1207008" cy="764079"/>
          </a:xfrm>
          <a:prstGeom prst="rect">
            <a:avLst/>
          </a:prstGeom>
        </p:spPr>
        <p:txBody>
          <a:bodyPr vert="horz" wrap="square" lIns="0" tIns="0" rIns="0" bIns="0" rtlCol="0" anchor="t" anchorCtr="0">
            <a:noAutofit/>
          </a:bodyPr>
          <a:lstStyle/>
          <a:p>
            <a:pPr algn="l">
              <a:spcAft>
                <a:spcPts val="600"/>
              </a:spcAft>
            </a:pPr>
            <a:r>
              <a:rPr lang="en-AU" sz="1500" b="1" dirty="0">
                <a:solidFill>
                  <a:schemeClr val="bg1"/>
                </a:solidFill>
              </a:rPr>
              <a:t>Succession planning</a:t>
            </a:r>
          </a:p>
        </p:txBody>
      </p:sp>
      <p:sp>
        <p:nvSpPr>
          <p:cNvPr id="7" name="TextBox 6">
            <a:extLst>
              <a:ext uri="{FF2B5EF4-FFF2-40B4-BE49-F238E27FC236}">
                <a16:creationId xmlns:a16="http://schemas.microsoft.com/office/drawing/2014/main" id="{C0963BF7-9D35-C279-0988-CBD04E00100B}"/>
              </a:ext>
            </a:extLst>
          </p:cNvPr>
          <p:cNvSpPr txBox="1"/>
          <p:nvPr/>
        </p:nvSpPr>
        <p:spPr>
          <a:xfrm>
            <a:off x="3068946" y="4051537"/>
            <a:ext cx="1207008" cy="764079"/>
          </a:xfrm>
          <a:prstGeom prst="rect">
            <a:avLst/>
          </a:prstGeom>
        </p:spPr>
        <p:txBody>
          <a:bodyPr vert="horz" wrap="square" lIns="0" tIns="0" rIns="0" bIns="0" rtlCol="0" anchor="t" anchorCtr="0">
            <a:noAutofit/>
          </a:bodyPr>
          <a:lstStyle/>
          <a:p>
            <a:pPr algn="l">
              <a:spcAft>
                <a:spcPts val="600"/>
              </a:spcAft>
            </a:pPr>
            <a:r>
              <a:rPr lang="en-AU" sz="1500" b="1" dirty="0">
                <a:solidFill>
                  <a:schemeClr val="bg1"/>
                </a:solidFill>
              </a:rPr>
              <a:t>Skills needed</a:t>
            </a:r>
          </a:p>
        </p:txBody>
      </p:sp>
      <p:pic>
        <p:nvPicPr>
          <p:cNvPr id="19" name="Picture 18">
            <a:extLst>
              <a:ext uri="{FF2B5EF4-FFF2-40B4-BE49-F238E27FC236}">
                <a16:creationId xmlns:a16="http://schemas.microsoft.com/office/drawing/2014/main" id="{A17D1623-5DA7-F1BF-5774-C3D01EFDB6D3}"/>
              </a:ext>
            </a:extLst>
          </p:cNvPr>
          <p:cNvPicPr>
            <a:picLocks noChangeAspect="1"/>
          </p:cNvPicPr>
          <p:nvPr/>
        </p:nvPicPr>
        <p:blipFill>
          <a:blip r:embed="rId4"/>
          <a:stretch>
            <a:fillRect/>
          </a:stretch>
        </p:blipFill>
        <p:spPr>
          <a:xfrm>
            <a:off x="5404838" y="2981634"/>
            <a:ext cx="4665875" cy="3465853"/>
          </a:xfrm>
          <a:prstGeom prst="rect">
            <a:avLst/>
          </a:prstGeom>
        </p:spPr>
      </p:pic>
    </p:spTree>
    <p:extLst>
      <p:ext uri="{BB962C8B-B14F-4D97-AF65-F5344CB8AC3E}">
        <p14:creationId xmlns:p14="http://schemas.microsoft.com/office/powerpoint/2010/main" val="41547707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032F3-E213-386C-2F4F-2DE3E778F4D8}"/>
            </a:ext>
          </a:extLst>
        </p:cNvPr>
        <p:cNvGrpSpPr/>
        <p:nvPr/>
      </p:nvGrpSpPr>
      <p:grpSpPr>
        <a:xfrm>
          <a:off x="0" y="0"/>
          <a:ext cx="0" cy="0"/>
          <a:chOff x="0" y="0"/>
          <a:chExt cx="0" cy="0"/>
        </a:xfrm>
      </p:grpSpPr>
      <p:sp>
        <p:nvSpPr>
          <p:cNvPr id="8" name="Oval 7">
            <a:extLst>
              <a:ext uri="{FF2B5EF4-FFF2-40B4-BE49-F238E27FC236}">
                <a16:creationId xmlns:a16="http://schemas.microsoft.com/office/drawing/2014/main" id="{3C9ED97D-B048-7712-E166-154E742B881F}"/>
              </a:ext>
            </a:extLst>
          </p:cNvPr>
          <p:cNvSpPr/>
          <p:nvPr/>
        </p:nvSpPr>
        <p:spPr>
          <a:xfrm>
            <a:off x="966658" y="325025"/>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4000" dirty="0">
                <a:solidFill>
                  <a:schemeClr val="accent4"/>
                </a:solidFill>
                <a:latin typeface="+mj-lt"/>
              </a:rPr>
              <a:t>7</a:t>
            </a:r>
          </a:p>
        </p:txBody>
      </p:sp>
      <p:sp>
        <p:nvSpPr>
          <p:cNvPr id="10" name="Freeform: Shape 9">
            <a:extLst>
              <a:ext uri="{FF2B5EF4-FFF2-40B4-BE49-F238E27FC236}">
                <a16:creationId xmlns:a16="http://schemas.microsoft.com/office/drawing/2014/main" id="{90B56E58-9300-7CFC-050D-E92D03F448C3}"/>
              </a:ext>
            </a:extLst>
          </p:cNvPr>
          <p:cNvSpPr/>
          <p:nvPr/>
        </p:nvSpPr>
        <p:spPr>
          <a:xfrm>
            <a:off x="1263506" y="209425"/>
            <a:ext cx="10295551"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4000" b="1" kern="1200" dirty="0">
                <a:solidFill>
                  <a:schemeClr val="bg1"/>
                </a:solidFill>
                <a:latin typeface="+mj-lt"/>
                <a:cs typeface="Arial"/>
              </a:rPr>
              <a:t>Tone and culture, managements efforts to build trust</a:t>
            </a:r>
          </a:p>
        </p:txBody>
      </p:sp>
      <p:sp>
        <p:nvSpPr>
          <p:cNvPr id="11" name="Oval 10">
            <a:extLst>
              <a:ext uri="{FF2B5EF4-FFF2-40B4-BE49-F238E27FC236}">
                <a16:creationId xmlns:a16="http://schemas.microsoft.com/office/drawing/2014/main" id="{324A9380-9DC4-39FE-103D-03F70DB51595}"/>
              </a:ext>
            </a:extLst>
          </p:cNvPr>
          <p:cNvSpPr/>
          <p:nvPr/>
        </p:nvSpPr>
        <p:spPr>
          <a:xfrm>
            <a:off x="984557" y="1198934"/>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4000" dirty="0">
                <a:solidFill>
                  <a:schemeClr val="accent4"/>
                </a:solidFill>
                <a:latin typeface="+mj-lt"/>
              </a:rPr>
              <a:t>8</a:t>
            </a:r>
          </a:p>
        </p:txBody>
      </p:sp>
      <p:sp>
        <p:nvSpPr>
          <p:cNvPr id="13" name="Freeform: Shape 12">
            <a:extLst>
              <a:ext uri="{FF2B5EF4-FFF2-40B4-BE49-F238E27FC236}">
                <a16:creationId xmlns:a16="http://schemas.microsoft.com/office/drawing/2014/main" id="{F12252D2-52CC-9501-90F0-44EBB704FA17}"/>
              </a:ext>
            </a:extLst>
          </p:cNvPr>
          <p:cNvSpPr/>
          <p:nvPr/>
        </p:nvSpPr>
        <p:spPr>
          <a:xfrm>
            <a:off x="1263506" y="1117299"/>
            <a:ext cx="8989265"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4000" b="1" kern="1200" dirty="0">
                <a:solidFill>
                  <a:schemeClr val="bg1"/>
                </a:solidFill>
                <a:latin typeface="+mj-lt"/>
                <a:cs typeface="Arial"/>
              </a:rPr>
              <a:t>Risk oversight and allocation to committees</a:t>
            </a:r>
          </a:p>
        </p:txBody>
      </p:sp>
      <p:pic>
        <p:nvPicPr>
          <p:cNvPr id="5" name="Picture 4" descr="A person wearing a hard hat and earphones&#10;&#10;AI-generated content may be incorrect.">
            <a:extLst>
              <a:ext uri="{FF2B5EF4-FFF2-40B4-BE49-F238E27FC236}">
                <a16:creationId xmlns:a16="http://schemas.microsoft.com/office/drawing/2014/main" id="{21B148E1-E891-CDA9-06BF-D8F55A1DC768}"/>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4392634" y="3220439"/>
            <a:ext cx="6096000" cy="3428136"/>
          </a:xfrm>
          <a:prstGeom prst="rect">
            <a:avLst/>
          </a:prstGeom>
        </p:spPr>
      </p:pic>
      <p:sp>
        <p:nvSpPr>
          <p:cNvPr id="2" name="TextBox 1">
            <a:extLst>
              <a:ext uri="{FF2B5EF4-FFF2-40B4-BE49-F238E27FC236}">
                <a16:creationId xmlns:a16="http://schemas.microsoft.com/office/drawing/2014/main" id="{DC140533-71FE-F40D-65C2-9E8AA192D57C}"/>
              </a:ext>
            </a:extLst>
          </p:cNvPr>
          <p:cNvSpPr txBox="1"/>
          <p:nvPr/>
        </p:nvSpPr>
        <p:spPr>
          <a:xfrm>
            <a:off x="499925" y="3429000"/>
            <a:ext cx="4483555" cy="658368"/>
          </a:xfrm>
          <a:prstGeom prst="rect">
            <a:avLst/>
          </a:prstGeom>
        </p:spPr>
        <p:txBody>
          <a:bodyPr vert="horz" wrap="square" lIns="0" tIns="0" rIns="0" bIns="0" rtlCol="0" anchor="t" anchorCtr="0">
            <a:noAutofit/>
          </a:bodyPr>
          <a:lstStyle/>
          <a:p>
            <a:pPr algn="l">
              <a:spcAft>
                <a:spcPts val="600"/>
              </a:spcAft>
            </a:pPr>
            <a:r>
              <a:rPr lang="en-AU" b="1" dirty="0">
                <a:solidFill>
                  <a:schemeClr val="bg1"/>
                </a:solidFill>
              </a:rPr>
              <a:t>Shaping Corporate Culture</a:t>
            </a:r>
          </a:p>
          <a:p>
            <a:pPr algn="l">
              <a:spcAft>
                <a:spcPts val="600"/>
              </a:spcAft>
            </a:pPr>
            <a:r>
              <a:rPr lang="en-AU" b="1" dirty="0">
                <a:solidFill>
                  <a:schemeClr val="bg1"/>
                </a:solidFill>
              </a:rPr>
              <a:t>Zero-tolerance / whistleblower</a:t>
            </a:r>
          </a:p>
          <a:p>
            <a:pPr algn="l">
              <a:spcAft>
                <a:spcPts val="600"/>
              </a:spcAft>
            </a:pPr>
            <a:r>
              <a:rPr lang="en-AU" b="1" dirty="0">
                <a:solidFill>
                  <a:schemeClr val="bg1"/>
                </a:solidFill>
              </a:rPr>
              <a:t>Misinformation… reputation</a:t>
            </a:r>
          </a:p>
        </p:txBody>
      </p:sp>
    </p:spTree>
    <p:extLst>
      <p:ext uri="{BB962C8B-B14F-4D97-AF65-F5344CB8AC3E}">
        <p14:creationId xmlns:p14="http://schemas.microsoft.com/office/powerpoint/2010/main" val="29723576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08196-32A4-FE5B-CC74-62B603B6562F}"/>
            </a:ext>
          </a:extLst>
        </p:cNvPr>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270D8A15-B04A-6D14-8562-012A8C31A9D9}"/>
              </a:ext>
            </a:extLst>
          </p:cNvPr>
          <p:cNvCxnSpPr>
            <a:cxnSpLocks/>
            <a:stCxn id="30" idx="4"/>
            <a:endCxn id="16" idx="0"/>
          </p:cNvCxnSpPr>
          <p:nvPr/>
        </p:nvCxnSpPr>
        <p:spPr>
          <a:xfrm>
            <a:off x="1136506" y="654263"/>
            <a:ext cx="8950" cy="533694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Freeform: Shape 6">
            <a:extLst>
              <a:ext uri="{FF2B5EF4-FFF2-40B4-BE49-F238E27FC236}">
                <a16:creationId xmlns:a16="http://schemas.microsoft.com/office/drawing/2014/main" id="{1D918BE8-4367-D5ED-7463-DE183461BC18}"/>
              </a:ext>
            </a:extLst>
          </p:cNvPr>
          <p:cNvSpPr/>
          <p:nvPr/>
        </p:nvSpPr>
        <p:spPr>
          <a:xfrm>
            <a:off x="1154406" y="0"/>
            <a:ext cx="10187538"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2800" b="1" dirty="0">
                <a:solidFill>
                  <a:schemeClr val="bg1"/>
                </a:solidFill>
                <a:latin typeface="+mj-lt"/>
                <a:cs typeface="Arial"/>
              </a:rPr>
              <a:t>Geopolitical and economic shifts and global disruption</a:t>
            </a:r>
            <a:endParaRPr lang="en-AU" sz="2800" b="1" kern="1200" dirty="0">
              <a:solidFill>
                <a:schemeClr val="bg1"/>
              </a:solidFill>
              <a:latin typeface="+mj-lt"/>
              <a:cs typeface="Arial"/>
            </a:endParaRPr>
          </a:p>
        </p:txBody>
      </p:sp>
      <p:sp>
        <p:nvSpPr>
          <p:cNvPr id="30" name="Oval 29">
            <a:extLst>
              <a:ext uri="{FF2B5EF4-FFF2-40B4-BE49-F238E27FC236}">
                <a16:creationId xmlns:a16="http://schemas.microsoft.com/office/drawing/2014/main" id="{276EE43F-A17C-41C2-1BE3-E4C4C502915F}"/>
              </a:ext>
            </a:extLst>
          </p:cNvPr>
          <p:cNvSpPr/>
          <p:nvPr/>
        </p:nvSpPr>
        <p:spPr>
          <a:xfrm>
            <a:off x="866506" y="115614"/>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2800">
                <a:solidFill>
                  <a:schemeClr val="accent4"/>
                </a:solidFill>
                <a:latin typeface="+mj-lt"/>
              </a:rPr>
              <a:t>1</a:t>
            </a:r>
          </a:p>
        </p:txBody>
      </p:sp>
      <p:sp>
        <p:nvSpPr>
          <p:cNvPr id="3" name="Freeform: Shape 2">
            <a:extLst>
              <a:ext uri="{FF2B5EF4-FFF2-40B4-BE49-F238E27FC236}">
                <a16:creationId xmlns:a16="http://schemas.microsoft.com/office/drawing/2014/main" id="{D768D24D-DAD5-9F21-9DB4-2476FBD8F9E6}"/>
              </a:ext>
            </a:extLst>
          </p:cNvPr>
          <p:cNvSpPr/>
          <p:nvPr/>
        </p:nvSpPr>
        <p:spPr>
          <a:xfrm>
            <a:off x="1154405" y="757819"/>
            <a:ext cx="9917538"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2800" b="1" kern="1200" dirty="0">
                <a:solidFill>
                  <a:schemeClr val="bg1"/>
                </a:solidFill>
                <a:latin typeface="+mj-lt"/>
                <a:cs typeface="Arial"/>
              </a:rPr>
              <a:t>Understanding the AI strategy and deployment of technology</a:t>
            </a:r>
          </a:p>
        </p:txBody>
      </p:sp>
      <p:sp>
        <p:nvSpPr>
          <p:cNvPr id="6" name="Oval 5">
            <a:extLst>
              <a:ext uri="{FF2B5EF4-FFF2-40B4-BE49-F238E27FC236}">
                <a16:creationId xmlns:a16="http://schemas.microsoft.com/office/drawing/2014/main" id="{8F8D05F8-34AE-FD42-B85E-53EC4587C4A0}"/>
              </a:ext>
            </a:extLst>
          </p:cNvPr>
          <p:cNvSpPr/>
          <p:nvPr/>
        </p:nvSpPr>
        <p:spPr>
          <a:xfrm>
            <a:off x="866506" y="866790"/>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2800">
                <a:solidFill>
                  <a:schemeClr val="accent4"/>
                </a:solidFill>
                <a:latin typeface="+mj-lt"/>
              </a:rPr>
              <a:t>2</a:t>
            </a:r>
          </a:p>
        </p:txBody>
      </p:sp>
      <p:sp>
        <p:nvSpPr>
          <p:cNvPr id="45" name="Freeform: Shape 44">
            <a:extLst>
              <a:ext uri="{FF2B5EF4-FFF2-40B4-BE49-F238E27FC236}">
                <a16:creationId xmlns:a16="http://schemas.microsoft.com/office/drawing/2014/main" id="{F7EF13DB-7AD2-8AC7-6429-F9F9D7E884C9}"/>
              </a:ext>
            </a:extLst>
          </p:cNvPr>
          <p:cNvSpPr/>
          <p:nvPr/>
        </p:nvSpPr>
        <p:spPr>
          <a:xfrm>
            <a:off x="1136506" y="1605082"/>
            <a:ext cx="8220005"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2800" b="1" kern="1200" dirty="0">
                <a:solidFill>
                  <a:schemeClr val="bg1"/>
                </a:solidFill>
                <a:latin typeface="+mj-lt"/>
                <a:cs typeface="Arial"/>
              </a:rPr>
              <a:t>Data governance and security frameworks</a:t>
            </a:r>
            <a:endParaRPr lang="en-AU" sz="2800" b="1" i="1" kern="1200" dirty="0">
              <a:solidFill>
                <a:schemeClr val="bg1"/>
              </a:solidFill>
              <a:latin typeface="+mj-lt"/>
              <a:cs typeface="Arial"/>
            </a:endParaRPr>
          </a:p>
        </p:txBody>
      </p:sp>
      <p:sp>
        <p:nvSpPr>
          <p:cNvPr id="46" name="Oval 45">
            <a:extLst>
              <a:ext uri="{FF2B5EF4-FFF2-40B4-BE49-F238E27FC236}">
                <a16:creationId xmlns:a16="http://schemas.microsoft.com/office/drawing/2014/main" id="{5A0EBD9B-34E3-E90A-54A1-372C760DA014}"/>
              </a:ext>
            </a:extLst>
          </p:cNvPr>
          <p:cNvSpPr/>
          <p:nvPr/>
        </p:nvSpPr>
        <p:spPr>
          <a:xfrm>
            <a:off x="875456" y="1731518"/>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2800">
                <a:solidFill>
                  <a:schemeClr val="accent4"/>
                </a:solidFill>
                <a:latin typeface="+mj-lt"/>
              </a:rPr>
              <a:t>3</a:t>
            </a:r>
          </a:p>
        </p:txBody>
      </p:sp>
      <p:sp>
        <p:nvSpPr>
          <p:cNvPr id="50" name="Oval 49">
            <a:extLst>
              <a:ext uri="{FF2B5EF4-FFF2-40B4-BE49-F238E27FC236}">
                <a16:creationId xmlns:a16="http://schemas.microsoft.com/office/drawing/2014/main" id="{2A1CAA24-6E05-D87E-1FEA-F662F291A8C3}"/>
              </a:ext>
            </a:extLst>
          </p:cNvPr>
          <p:cNvSpPr/>
          <p:nvPr/>
        </p:nvSpPr>
        <p:spPr>
          <a:xfrm>
            <a:off x="875456" y="2592189"/>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2800" dirty="0">
                <a:solidFill>
                  <a:schemeClr val="accent4"/>
                </a:solidFill>
                <a:latin typeface="+mj-lt"/>
              </a:rPr>
              <a:t>4</a:t>
            </a:r>
          </a:p>
        </p:txBody>
      </p:sp>
      <p:sp>
        <p:nvSpPr>
          <p:cNvPr id="9" name="Freeform: Shape 8">
            <a:extLst>
              <a:ext uri="{FF2B5EF4-FFF2-40B4-BE49-F238E27FC236}">
                <a16:creationId xmlns:a16="http://schemas.microsoft.com/office/drawing/2014/main" id="{B6D989A4-B824-B35A-E7E6-66B10759A7DA}"/>
              </a:ext>
            </a:extLst>
          </p:cNvPr>
          <p:cNvSpPr/>
          <p:nvPr/>
        </p:nvSpPr>
        <p:spPr>
          <a:xfrm>
            <a:off x="1145456" y="2479473"/>
            <a:ext cx="6013836"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2800" b="1" kern="1200" dirty="0">
                <a:solidFill>
                  <a:schemeClr val="bg1"/>
                </a:solidFill>
                <a:latin typeface="+mj-lt"/>
                <a:cs typeface="Arial"/>
              </a:rPr>
              <a:t>Environmental and social issues</a:t>
            </a:r>
          </a:p>
        </p:txBody>
      </p:sp>
      <p:sp>
        <p:nvSpPr>
          <p:cNvPr id="2" name="Oval 1">
            <a:extLst>
              <a:ext uri="{FF2B5EF4-FFF2-40B4-BE49-F238E27FC236}">
                <a16:creationId xmlns:a16="http://schemas.microsoft.com/office/drawing/2014/main" id="{4136BAF7-30F5-F4D7-BC4E-903380DC7FFC}"/>
              </a:ext>
            </a:extLst>
          </p:cNvPr>
          <p:cNvSpPr/>
          <p:nvPr/>
        </p:nvSpPr>
        <p:spPr>
          <a:xfrm>
            <a:off x="875456" y="3444038"/>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2800" dirty="0">
                <a:solidFill>
                  <a:schemeClr val="accent4"/>
                </a:solidFill>
                <a:latin typeface="+mj-lt"/>
              </a:rPr>
              <a:t>5</a:t>
            </a:r>
          </a:p>
        </p:txBody>
      </p:sp>
      <p:sp>
        <p:nvSpPr>
          <p:cNvPr id="4" name="Freeform: Shape 3">
            <a:extLst>
              <a:ext uri="{FF2B5EF4-FFF2-40B4-BE49-F238E27FC236}">
                <a16:creationId xmlns:a16="http://schemas.microsoft.com/office/drawing/2014/main" id="{511413F4-EEF6-E041-03CF-077549DD961D}"/>
              </a:ext>
            </a:extLst>
          </p:cNvPr>
          <p:cNvSpPr/>
          <p:nvPr/>
        </p:nvSpPr>
        <p:spPr>
          <a:xfrm>
            <a:off x="1145456" y="3309065"/>
            <a:ext cx="8228954"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2800" b="1" kern="1200" dirty="0">
                <a:solidFill>
                  <a:schemeClr val="bg1"/>
                </a:solidFill>
                <a:latin typeface="+mj-lt"/>
                <a:cs typeface="Arial"/>
              </a:rPr>
              <a:t>CEO succession and talent development</a:t>
            </a:r>
          </a:p>
        </p:txBody>
      </p:sp>
      <p:sp>
        <p:nvSpPr>
          <p:cNvPr id="8" name="Oval 7">
            <a:extLst>
              <a:ext uri="{FF2B5EF4-FFF2-40B4-BE49-F238E27FC236}">
                <a16:creationId xmlns:a16="http://schemas.microsoft.com/office/drawing/2014/main" id="{5EE8226E-A4DF-CF70-9DC3-3523F36855CD}"/>
              </a:ext>
            </a:extLst>
          </p:cNvPr>
          <p:cNvSpPr/>
          <p:nvPr/>
        </p:nvSpPr>
        <p:spPr>
          <a:xfrm>
            <a:off x="866506" y="4270928"/>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2800" dirty="0">
                <a:solidFill>
                  <a:schemeClr val="accent4"/>
                </a:solidFill>
                <a:latin typeface="+mj-lt"/>
              </a:rPr>
              <a:t>6</a:t>
            </a:r>
          </a:p>
        </p:txBody>
      </p:sp>
      <p:sp>
        <p:nvSpPr>
          <p:cNvPr id="10" name="Freeform: Shape 9">
            <a:extLst>
              <a:ext uri="{FF2B5EF4-FFF2-40B4-BE49-F238E27FC236}">
                <a16:creationId xmlns:a16="http://schemas.microsoft.com/office/drawing/2014/main" id="{96263D1D-2D43-D705-7825-A04C0A4EEB54}"/>
              </a:ext>
            </a:extLst>
          </p:cNvPr>
          <p:cNvSpPr/>
          <p:nvPr/>
        </p:nvSpPr>
        <p:spPr>
          <a:xfrm>
            <a:off x="1154405" y="4150687"/>
            <a:ext cx="10295551"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2800" b="1" kern="1200" dirty="0">
                <a:solidFill>
                  <a:schemeClr val="bg1"/>
                </a:solidFill>
                <a:latin typeface="+mj-lt"/>
                <a:cs typeface="Arial"/>
              </a:rPr>
              <a:t>Tone and culture, managements efforts to build trust</a:t>
            </a:r>
          </a:p>
        </p:txBody>
      </p:sp>
      <p:sp>
        <p:nvSpPr>
          <p:cNvPr id="11" name="Oval 10">
            <a:extLst>
              <a:ext uri="{FF2B5EF4-FFF2-40B4-BE49-F238E27FC236}">
                <a16:creationId xmlns:a16="http://schemas.microsoft.com/office/drawing/2014/main" id="{D749A3A1-CBB9-6C39-3649-52B01FED7F85}"/>
              </a:ext>
            </a:extLst>
          </p:cNvPr>
          <p:cNvSpPr/>
          <p:nvPr/>
        </p:nvSpPr>
        <p:spPr>
          <a:xfrm>
            <a:off x="866506" y="5131069"/>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2800" dirty="0">
                <a:solidFill>
                  <a:schemeClr val="accent4"/>
                </a:solidFill>
                <a:latin typeface="+mj-lt"/>
              </a:rPr>
              <a:t>7</a:t>
            </a:r>
          </a:p>
        </p:txBody>
      </p:sp>
      <p:sp>
        <p:nvSpPr>
          <p:cNvPr id="13" name="Freeform: Shape 12">
            <a:extLst>
              <a:ext uri="{FF2B5EF4-FFF2-40B4-BE49-F238E27FC236}">
                <a16:creationId xmlns:a16="http://schemas.microsoft.com/office/drawing/2014/main" id="{9E82C508-17C5-BA9C-6A5F-6489CCDDE92F}"/>
              </a:ext>
            </a:extLst>
          </p:cNvPr>
          <p:cNvSpPr/>
          <p:nvPr/>
        </p:nvSpPr>
        <p:spPr>
          <a:xfrm>
            <a:off x="1154405" y="5013615"/>
            <a:ext cx="8989265"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2800" b="1" kern="1200" dirty="0">
                <a:solidFill>
                  <a:schemeClr val="bg1"/>
                </a:solidFill>
                <a:latin typeface="+mj-lt"/>
                <a:cs typeface="Arial"/>
              </a:rPr>
              <a:t>Risk oversight and allocation to committees</a:t>
            </a:r>
          </a:p>
        </p:txBody>
      </p:sp>
      <p:sp>
        <p:nvSpPr>
          <p:cNvPr id="16" name="Oval 15">
            <a:extLst>
              <a:ext uri="{FF2B5EF4-FFF2-40B4-BE49-F238E27FC236}">
                <a16:creationId xmlns:a16="http://schemas.microsoft.com/office/drawing/2014/main" id="{CC7EADFB-A2F6-C5E7-2CE6-7C9451B47424}"/>
              </a:ext>
            </a:extLst>
          </p:cNvPr>
          <p:cNvSpPr/>
          <p:nvPr/>
        </p:nvSpPr>
        <p:spPr>
          <a:xfrm>
            <a:off x="875456" y="5991210"/>
            <a:ext cx="540000" cy="538649"/>
          </a:xfrm>
          <a:prstGeom prst="ellipse">
            <a:avLst/>
          </a:prstGeom>
          <a:solidFill>
            <a:schemeClr val="accent2">
              <a:lumMod val="50000"/>
            </a:schemeClr>
          </a:solidFill>
          <a:ln>
            <a:noFill/>
          </a:ln>
          <a:effectLst>
            <a:glow rad="63500">
              <a:schemeClr val="accent4"/>
            </a:glo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bIns="108000" anchor="ctr"/>
          <a:lstStyle/>
          <a:p>
            <a:pPr algn="ctr"/>
            <a:r>
              <a:rPr lang="en-AU" sz="2800" dirty="0">
                <a:solidFill>
                  <a:schemeClr val="accent4"/>
                </a:solidFill>
                <a:latin typeface="+mj-lt"/>
              </a:rPr>
              <a:t>8</a:t>
            </a:r>
          </a:p>
        </p:txBody>
      </p:sp>
      <p:sp>
        <p:nvSpPr>
          <p:cNvPr id="17" name="Freeform: Shape 16">
            <a:extLst>
              <a:ext uri="{FF2B5EF4-FFF2-40B4-BE49-F238E27FC236}">
                <a16:creationId xmlns:a16="http://schemas.microsoft.com/office/drawing/2014/main" id="{F3057948-9DD5-9C4A-5EE7-8E38743A675A}"/>
              </a:ext>
            </a:extLst>
          </p:cNvPr>
          <p:cNvSpPr/>
          <p:nvPr/>
        </p:nvSpPr>
        <p:spPr>
          <a:xfrm>
            <a:off x="1166507" y="5860311"/>
            <a:ext cx="8989265" cy="764079"/>
          </a:xfrm>
          <a:custGeom>
            <a:avLst/>
            <a:gdLst>
              <a:gd name="connsiteX0" fmla="*/ 0 w 3886499"/>
              <a:gd name="connsiteY0" fmla="*/ 0 h 874838"/>
              <a:gd name="connsiteX1" fmla="*/ 3886499 w 3886499"/>
              <a:gd name="connsiteY1" fmla="*/ 0 h 874838"/>
              <a:gd name="connsiteX2" fmla="*/ 3886499 w 3886499"/>
              <a:gd name="connsiteY2" fmla="*/ 874838 h 874838"/>
              <a:gd name="connsiteX3" fmla="*/ 0 w 3886499"/>
              <a:gd name="connsiteY3" fmla="*/ 874838 h 874838"/>
              <a:gd name="connsiteX4" fmla="*/ 0 w 3886499"/>
              <a:gd name="connsiteY4" fmla="*/ 0 h 874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6499" h="874838">
                <a:moveTo>
                  <a:pt x="0" y="0"/>
                </a:moveTo>
                <a:lnTo>
                  <a:pt x="3886499" y="0"/>
                </a:lnTo>
                <a:lnTo>
                  <a:pt x="3886499" y="874838"/>
                </a:lnTo>
                <a:lnTo>
                  <a:pt x="0" y="874838"/>
                </a:lnTo>
                <a:lnTo>
                  <a:pt x="0" y="0"/>
                </a:lnTo>
                <a:close/>
              </a:path>
            </a:pathLst>
          </a:custGeom>
          <a:no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504000" tIns="27940" rIns="27940" bIns="27940" numCol="1" spcCol="1270" anchor="ctr" anchorCtr="0">
            <a:noAutofit/>
          </a:bodyPr>
          <a:lstStyle/>
          <a:p>
            <a:pPr defTabSz="466725">
              <a:lnSpc>
                <a:spcPct val="90000"/>
              </a:lnSpc>
              <a:spcBef>
                <a:spcPct val="0"/>
              </a:spcBef>
              <a:spcAft>
                <a:spcPct val="35000"/>
              </a:spcAft>
            </a:pPr>
            <a:r>
              <a:rPr lang="en-AU" sz="2800" b="1" kern="1200" dirty="0">
                <a:solidFill>
                  <a:schemeClr val="bg1"/>
                </a:solidFill>
                <a:latin typeface="+mj-lt"/>
                <a:cs typeface="Arial"/>
              </a:rPr>
              <a:t>Board composition and succession</a:t>
            </a:r>
          </a:p>
        </p:txBody>
      </p:sp>
    </p:spTree>
    <p:extLst>
      <p:ext uri="{BB962C8B-B14F-4D97-AF65-F5344CB8AC3E}">
        <p14:creationId xmlns:p14="http://schemas.microsoft.com/office/powerpoint/2010/main" val="37551061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BA714B4-75C2-75BC-C081-A441DB281D6E}"/>
              </a:ext>
            </a:extLst>
          </p:cNvPr>
          <p:cNvSpPr>
            <a:spLocks noGrp="1"/>
          </p:cNvSpPr>
          <p:nvPr>
            <p:ph type="ctrTitle"/>
          </p:nvPr>
        </p:nvSpPr>
        <p:spPr>
          <a:xfrm>
            <a:off x="998475" y="1759937"/>
            <a:ext cx="4012063" cy="2900514"/>
          </a:xfrm>
        </p:spPr>
        <p:txBody>
          <a:bodyPr/>
          <a:lstStyle/>
          <a:p>
            <a:r>
              <a:rPr lang="en-AU"/>
              <a:t>Thankyou</a:t>
            </a:r>
            <a:br>
              <a:rPr lang="en-AU"/>
            </a:br>
            <a:br>
              <a:rPr lang="en-AU"/>
            </a:br>
            <a:endParaRPr lang="en-AU"/>
          </a:p>
        </p:txBody>
      </p:sp>
    </p:spTree>
    <p:extLst>
      <p:ext uri="{BB962C8B-B14F-4D97-AF65-F5344CB8AC3E}">
        <p14:creationId xmlns:p14="http://schemas.microsoft.com/office/powerpoint/2010/main" val="1582490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6.1"/>
  <p:tag name="TYPE" val="ScreenWide"/>
  <p:tag name="KEYWORD" val="SCREENWIDE"/>
  <p:tag name="TEMPLATEVERSION" val="05/06/2025 11:58:22"/>
</p:tagLst>
</file>

<file path=ppt/tags/tag10.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DV_COPYRIGHT" val="TRUE"/>
</p:tagLst>
</file>

<file path=ppt/tags/tag4.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Cobalt Blue">
      <a:srgbClr val="1E49E2"/>
    </a:custClr>
    <a:custClr name="Dark Blue">
      <a:srgbClr val="0C233C"/>
    </a:custClr>
    <a:custClr name="Light Blue">
      <a:srgbClr val="ACEAFF"/>
    </a:custClr>
    <a:custClr name="Pacific Blue">
      <a:srgbClr val="00B8F5"/>
    </a:custClr>
    <a:custClr name="Purple">
      <a:srgbClr val="7213EA"/>
    </a:custClr>
    <a:custClr name="Pink">
      <a:srgbClr val="FD349C"/>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Grey 1">
      <a:srgbClr val="333333"/>
    </a:custClr>
    <a:custClr name="Grey 2">
      <a:srgbClr val="666666"/>
    </a:custClr>
    <a:custClr name="Grey 3">
      <a:srgbClr val="989898"/>
    </a:custClr>
    <a:custClr name="Grey 4">
      <a:srgbClr val="B2B2B2"/>
    </a:custClr>
    <a:custClr name="Grey 5">
      <a:srgbClr val="E5E5E5"/>
    </a:custClr>
    <a:custClr name="Traffic Light Red">
      <a:srgbClr val="ED2124"/>
    </a:custClr>
    <a:custClr name="Traffic Light Yellow">
      <a:srgbClr val="F1C44D"/>
    </a:custClr>
    <a:custClr name="Traffic Light Green">
      <a:srgbClr val="269924"/>
    </a:custClr>
  </a:custClrLst>
  <a:extLst>
    <a:ext uri="{05A4C25C-085E-4340-85A3-A5531E510DB2}">
      <thm15:themeFamily xmlns:thm15="http://schemas.microsoft.com/office/thememl/2012/main" name="KPMG Widescreen Standard Template" id="{130BECD8-4BF8-4573-B810-D31B82E7CA71}" vid="{E1F78685-EDAB-47D5-B505-B53AE033286D}"/>
    </a:ext>
  </a:extLst>
</a:theme>
</file>

<file path=ppt/theme/theme2.xml><?xml version="1.0" encoding="utf-8"?>
<a:theme xmlns:a="http://schemas.openxmlformats.org/drawingml/2006/main" name="KPMG Widescreen template">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template" id="{B3BD9E52-51EB-4114-ADAE-E091A92DD74E}" vid="{DA5A2730-E614-4B99-9F24-11D8C63EC1F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942D0475D5D3347930C7ACCE6259785" ma:contentTypeVersion="18" ma:contentTypeDescription="Create a new document." ma:contentTypeScope="" ma:versionID="0346675c9b070b7b351729dc4a1f13dc">
  <xsd:schema xmlns:xsd="http://www.w3.org/2001/XMLSchema" xmlns:xs="http://www.w3.org/2001/XMLSchema" xmlns:p="http://schemas.microsoft.com/office/2006/metadata/properties" xmlns:ns2="0293aac2-1edb-4b32-9dc1-07d8e49e9522" xmlns:ns3="ba206b72-f710-4616-b5b0-94e95c0cce58" xmlns:ns4="4243d5be-521d-4052-81ca-f0f31ea6f2da" targetNamespace="http://schemas.microsoft.com/office/2006/metadata/properties" ma:root="true" ma:fieldsID="d3fcd6df542f778c27845069a9bf5889" ns2:_="" ns3:_="" ns4:_="">
    <xsd:import namespace="0293aac2-1edb-4b32-9dc1-07d8e49e9522"/>
    <xsd:import namespace="ba206b72-f710-4616-b5b0-94e95c0cce58"/>
    <xsd:import namespace="4243d5be-521d-4052-81ca-f0f31ea6f2d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93aac2-1edb-4b32-9dc1-07d8e49e95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Location" ma:index="25"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206b72-f710-4616-b5b0-94e95c0cce5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0f077bb9-3628-466d-9a35-566592b2af1b}" ma:internalName="TaxCatchAll" ma:showField="CatchAllData" ma:web="ba206b72-f710-4616-b5b0-94e95c0cce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293aac2-1edb-4b32-9dc1-07d8e49e9522">
      <Terms xmlns="http://schemas.microsoft.com/office/infopath/2007/PartnerControls"/>
    </lcf76f155ced4ddcb4097134ff3c332f>
    <TaxCatchAll xmlns="4243d5be-521d-4052-81ca-f0f31ea6f2da" xsi:nil="true"/>
  </documentManagement>
</p:properties>
</file>

<file path=customXml/itemProps1.xml><?xml version="1.0" encoding="utf-8"?>
<ds:datastoreItem xmlns:ds="http://schemas.openxmlformats.org/officeDocument/2006/customXml" ds:itemID="{759BB55C-BF29-4D80-9CF9-A48D3CDDE50A}">
  <ds:schemaRefs>
    <ds:schemaRef ds:uri="http://schemas.microsoft.com/sharepoint/v3/contenttype/forms"/>
  </ds:schemaRefs>
</ds:datastoreItem>
</file>

<file path=customXml/itemProps2.xml><?xml version="1.0" encoding="utf-8"?>
<ds:datastoreItem xmlns:ds="http://schemas.openxmlformats.org/officeDocument/2006/customXml" ds:itemID="{EFED1B4D-B1B7-4A77-A849-1989AB9D407F}">
  <ds:schemaRefs>
    <ds:schemaRef ds:uri="0293aac2-1edb-4b32-9dc1-07d8e49e9522"/>
    <ds:schemaRef ds:uri="4243d5be-521d-4052-81ca-f0f31ea6f2da"/>
    <ds:schemaRef ds:uri="ba206b72-f710-4616-b5b0-94e95c0cce5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A4BE98E-7CBF-4294-AF68-C3189FAE581E}">
  <ds:schemaRefs>
    <ds:schemaRef ds:uri="http://schemas.microsoft.com/office/2006/metadata/properties"/>
    <ds:schemaRef ds:uri="http://schemas.openxmlformats.org/package/2006/metadata/core-properties"/>
    <ds:schemaRef ds:uri="http://schemas.microsoft.com/office/infopath/2007/PartnerControls"/>
    <ds:schemaRef ds:uri="http://purl.org/dc/elements/1.1/"/>
    <ds:schemaRef ds:uri="http://purl.org/dc/dcmitype/"/>
    <ds:schemaRef ds:uri="http://schemas.microsoft.com/office/2006/documentManagement/types"/>
    <ds:schemaRef ds:uri="0293aac2-1edb-4b32-9dc1-07d8e49e9522"/>
    <ds:schemaRef ds:uri="http://www.w3.org/XML/1998/namespace"/>
    <ds:schemaRef ds:uri="4243d5be-521d-4052-81ca-f0f31ea6f2da"/>
    <ds:schemaRef ds:uri="ba206b72-f710-4616-b5b0-94e95c0cce58"/>
    <ds:schemaRef ds:uri="http://purl.org/dc/terms/"/>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1044</TotalTime>
  <Words>203</Words>
  <Application>Microsoft Office PowerPoint</Application>
  <PresentationFormat>Widescreen</PresentationFormat>
  <Paragraphs>67</Paragraphs>
  <Slides>9</Slides>
  <Notes>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8" baseType="lpstr">
      <vt:lpstr>Aptos</vt:lpstr>
      <vt:lpstr>Arial</vt:lpstr>
      <vt:lpstr>Calibri</vt:lpstr>
      <vt:lpstr>KPMG Bold</vt:lpstr>
      <vt:lpstr>Univers LT Std</vt:lpstr>
      <vt:lpstr>UniversLTStd-Bold</vt:lpstr>
      <vt:lpstr>KPMG Widescreen [16:9] Feb 2022</vt:lpstr>
      <vt:lpstr>KPMG Widescreen template</vt:lpstr>
      <vt:lpstr>think-cell Slide</vt:lpstr>
      <vt:lpstr>Petroleum &amp; Energy Conference 2025</vt:lpstr>
      <vt:lpstr>On the Board Agenda: Challenges and Strategies</vt:lpstr>
      <vt:lpstr>PowerPoint Presentation</vt:lpstr>
      <vt:lpstr>PowerPoint Presentation</vt:lpstr>
      <vt:lpstr>PowerPoint Presentation</vt:lpstr>
      <vt:lpstr>PowerPoint Presentation</vt:lpstr>
      <vt:lpstr>PowerPoint Presentation</vt:lpstr>
      <vt:lpstr>PowerPoint Presentation</vt:lpstr>
      <vt:lpstr>Thank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mate Risk Report 2024</dc:title>
  <dc:subject>1 July 2023 - 30 June 2024</dc:subject>
  <dc:creator>KPMG Australia</dc:creator>
  <cp:lastModifiedBy>Steyn, Pieter (PG)</cp:lastModifiedBy>
  <cp:revision>2</cp:revision>
  <dcterms:created xsi:type="dcterms:W3CDTF">2024-12-11T02:42:46Z</dcterms:created>
  <dcterms:modified xsi:type="dcterms:W3CDTF">2025-10-07T00:0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4-08-15T00:00:00Z</vt:filetime>
  </property>
  <property fmtid="{D5CDD505-2E9C-101B-9397-08002B2CF9AE}" pid="3" name="Creator">
    <vt:lpwstr>Adobe InDesign 19.5 (Macintosh)</vt:lpwstr>
  </property>
  <property fmtid="{D5CDD505-2E9C-101B-9397-08002B2CF9AE}" pid="4" name="LastSaved">
    <vt:filetime>2024-12-11T00:00:00Z</vt:filetime>
  </property>
  <property fmtid="{D5CDD505-2E9C-101B-9397-08002B2CF9AE}" pid="5" name="ContentTypeId">
    <vt:lpwstr>0x010100E942D0475D5D3347930C7ACCE6259785</vt:lpwstr>
  </property>
  <property fmtid="{D5CDD505-2E9C-101B-9397-08002B2CF9AE}" pid="6" name="MediaServiceImageTags">
    <vt:lpwstr/>
  </property>
</Properties>
</file>